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</p:sldMasterIdLst>
  <p:notesMasterIdLst>
    <p:notesMasterId r:id="rId23"/>
  </p:notesMasterIdLst>
  <p:sldIdLst>
    <p:sldId id="257" r:id="rId6"/>
    <p:sldId id="451" r:id="rId7"/>
    <p:sldId id="352" r:id="rId8"/>
    <p:sldId id="363" r:id="rId9"/>
    <p:sldId id="436" r:id="rId10"/>
    <p:sldId id="447" r:id="rId11"/>
    <p:sldId id="448" r:id="rId12"/>
    <p:sldId id="446" r:id="rId13"/>
    <p:sldId id="452" r:id="rId14"/>
    <p:sldId id="439" r:id="rId15"/>
    <p:sldId id="435" r:id="rId16"/>
    <p:sldId id="453" r:id="rId17"/>
    <p:sldId id="437" r:id="rId18"/>
    <p:sldId id="454" r:id="rId19"/>
    <p:sldId id="438" r:id="rId20"/>
    <p:sldId id="455" r:id="rId21"/>
    <p:sldId id="450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" id="{172288CD-CCD6-47C4-8B33-4A96CCEF24A5}">
          <p14:sldIdLst>
            <p14:sldId id="257"/>
            <p14:sldId id="451"/>
            <p14:sldId id="352"/>
            <p14:sldId id="363"/>
            <p14:sldId id="436"/>
            <p14:sldId id="447"/>
            <p14:sldId id="448"/>
            <p14:sldId id="446"/>
            <p14:sldId id="452"/>
            <p14:sldId id="439"/>
            <p14:sldId id="435"/>
            <p14:sldId id="453"/>
            <p14:sldId id="437"/>
            <p14:sldId id="454"/>
            <p14:sldId id="438"/>
            <p14:sldId id="455"/>
            <p14:sldId id="45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7E4CF22-CF3B-9D86-1404-F7BD1438F001}" name="Michelagh O'neill" initials="MO" userId="S::Michelagh.O'neill@gov.scot::1f744233-ad17-41e7-b436-c759e5cb79ad" providerId="AD"/>
  <p188:author id="{F4B8DF29-216D-5F6A-4E30-0348B731E255}" name="David Faichney" initials="DF" userId="S::David.Faichney@gov.scot::505a9306-c624-486b-925f-51afabd75b95" providerId="AD"/>
  <p188:author id="{3F6D627F-0D5F-8E35-7AA3-5849437DE829}" name="Jess Rees" initials="JR" userId="S::Jess.Rees@gov.scot::ad4d838c-70c1-4036-8db3-3404bcb3993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ichney D (David)" initials="FD(" lastIdx="1" clrIdx="0">
    <p:extLst>
      <p:ext uri="{19B8F6BF-5375-455C-9EA6-DF929625EA0E}">
        <p15:presenceInfo xmlns:p15="http://schemas.microsoft.com/office/powerpoint/2012/main" userId="S-1-5-21-765483983-692928010-316617838-4261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E5EEDA6-F62A-2675-C92B-175D5ACD3842}" v="123" dt="2024-07-30T15:16:17.9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46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lly Pugh" userId="543a07ec-a9bd-48ce-8428-bae554a57b04" providerId="ADAL" clId="{37E8C91A-BF94-4A37-99A2-49DFCA669822}"/>
    <pc:docChg chg="undo custSel addSld delSld modSld sldOrd modSection">
      <pc:chgData name="Billy Pugh" userId="543a07ec-a9bd-48ce-8428-bae554a57b04" providerId="ADAL" clId="{37E8C91A-BF94-4A37-99A2-49DFCA669822}" dt="2024-07-01T13:25:23.352" v="3231"/>
      <pc:docMkLst>
        <pc:docMk/>
      </pc:docMkLst>
      <pc:sldChg chg="modSp mod">
        <pc:chgData name="Billy Pugh" userId="543a07ec-a9bd-48ce-8428-bae554a57b04" providerId="ADAL" clId="{37E8C91A-BF94-4A37-99A2-49DFCA669822}" dt="2024-07-01T08:08:53.568" v="112" actId="20577"/>
        <pc:sldMkLst>
          <pc:docMk/>
          <pc:sldMk cId="1073962225" sldId="257"/>
        </pc:sldMkLst>
        <pc:spChg chg="mod">
          <ac:chgData name="Billy Pugh" userId="543a07ec-a9bd-48ce-8428-bae554a57b04" providerId="ADAL" clId="{37E8C91A-BF94-4A37-99A2-49DFCA669822}" dt="2024-07-01T08:08:53.568" v="112" actId="20577"/>
          <ac:spMkLst>
            <pc:docMk/>
            <pc:sldMk cId="1073962225" sldId="257"/>
            <ac:spMk id="2" creationId="{00000000-0000-0000-0000-000000000000}"/>
          </ac:spMkLst>
        </pc:spChg>
      </pc:sldChg>
      <pc:sldChg chg="add setBg">
        <pc:chgData name="Billy Pugh" userId="543a07ec-a9bd-48ce-8428-bae554a57b04" providerId="ADAL" clId="{37E8C91A-BF94-4A37-99A2-49DFCA669822}" dt="2024-07-01T13:25:23.352" v="3231"/>
        <pc:sldMkLst>
          <pc:docMk/>
          <pc:sldMk cId="1231901124" sldId="435"/>
        </pc:sldMkLst>
      </pc:sldChg>
      <pc:sldChg chg="ord setBg">
        <pc:chgData name="Billy Pugh" userId="543a07ec-a9bd-48ce-8428-bae554a57b04" providerId="ADAL" clId="{37E8C91A-BF94-4A37-99A2-49DFCA669822}" dt="2024-07-01T13:22:32.343" v="3014"/>
        <pc:sldMkLst>
          <pc:docMk/>
          <pc:sldMk cId="1903053422" sldId="436"/>
        </pc:sldMkLst>
      </pc:sldChg>
      <pc:sldChg chg="addSp delSp mod">
        <pc:chgData name="Billy Pugh" userId="543a07ec-a9bd-48ce-8428-bae554a57b04" providerId="ADAL" clId="{37E8C91A-BF94-4A37-99A2-49DFCA669822}" dt="2024-07-01T08:29:50.599" v="115" actId="22"/>
        <pc:sldMkLst>
          <pc:docMk/>
          <pc:sldMk cId="2473198416" sldId="437"/>
        </pc:sldMkLst>
        <pc:spChg chg="add del">
          <ac:chgData name="Billy Pugh" userId="543a07ec-a9bd-48ce-8428-bae554a57b04" providerId="ADAL" clId="{37E8C91A-BF94-4A37-99A2-49DFCA669822}" dt="2024-07-01T08:29:50.599" v="115" actId="22"/>
          <ac:spMkLst>
            <pc:docMk/>
            <pc:sldMk cId="2473198416" sldId="437"/>
            <ac:spMk id="6" creationId="{CFF9B185-94AB-ECC2-504A-F94DBB64BA80}"/>
          </ac:spMkLst>
        </pc:spChg>
      </pc:sldChg>
      <pc:sldChg chg="add setBg">
        <pc:chgData name="Billy Pugh" userId="543a07ec-a9bd-48ce-8428-bae554a57b04" providerId="ADAL" clId="{37E8C91A-BF94-4A37-99A2-49DFCA669822}" dt="2024-07-01T13:22:46.723" v="3015"/>
        <pc:sldMkLst>
          <pc:docMk/>
          <pc:sldMk cId="342451886" sldId="438"/>
        </pc:sldMkLst>
      </pc:sldChg>
      <pc:sldChg chg="del">
        <pc:chgData name="Billy Pugh" userId="543a07ec-a9bd-48ce-8428-bae554a57b04" providerId="ADAL" clId="{37E8C91A-BF94-4A37-99A2-49DFCA669822}" dt="2024-07-01T09:27:44.144" v="212" actId="47"/>
        <pc:sldMkLst>
          <pc:docMk/>
          <pc:sldMk cId="3995403612" sldId="440"/>
        </pc:sldMkLst>
      </pc:sldChg>
      <pc:sldChg chg="del">
        <pc:chgData name="Billy Pugh" userId="543a07ec-a9bd-48ce-8428-bae554a57b04" providerId="ADAL" clId="{37E8C91A-BF94-4A37-99A2-49DFCA669822}" dt="2024-07-01T08:13:35.609" v="113" actId="47"/>
        <pc:sldMkLst>
          <pc:docMk/>
          <pc:sldMk cId="2052992705" sldId="441"/>
        </pc:sldMkLst>
      </pc:sldChg>
      <pc:sldChg chg="add setBg">
        <pc:chgData name="Billy Pugh" userId="543a07ec-a9bd-48ce-8428-bae554a57b04" providerId="ADAL" clId="{37E8C91A-BF94-4A37-99A2-49DFCA669822}" dt="2024-07-01T13:22:24.454" v="3012"/>
        <pc:sldMkLst>
          <pc:docMk/>
          <pc:sldMk cId="2478878953" sldId="446"/>
        </pc:sldMkLst>
      </pc:sldChg>
      <pc:sldChg chg="addSp delSp modSp new mod ord setBg">
        <pc:chgData name="Billy Pugh" userId="543a07ec-a9bd-48ce-8428-bae554a57b04" providerId="ADAL" clId="{37E8C91A-BF94-4A37-99A2-49DFCA669822}" dt="2024-07-01T13:25:04.170" v="3230" actId="403"/>
        <pc:sldMkLst>
          <pc:docMk/>
          <pc:sldMk cId="918554454" sldId="447"/>
        </pc:sldMkLst>
        <pc:spChg chg="mod">
          <ac:chgData name="Billy Pugh" userId="543a07ec-a9bd-48ce-8428-bae554a57b04" providerId="ADAL" clId="{37E8C91A-BF94-4A37-99A2-49DFCA669822}" dt="2024-07-01T13:25:04.170" v="3230" actId="403"/>
          <ac:spMkLst>
            <pc:docMk/>
            <pc:sldMk cId="918554454" sldId="447"/>
            <ac:spMk id="2" creationId="{D49FEB86-76E2-28ED-838A-863801F8B325}"/>
          </ac:spMkLst>
        </pc:spChg>
        <pc:spChg chg="del">
          <ac:chgData name="Billy Pugh" userId="543a07ec-a9bd-48ce-8428-bae554a57b04" providerId="ADAL" clId="{37E8C91A-BF94-4A37-99A2-49DFCA669822}" dt="2024-07-01T08:41:20.764" v="193"/>
          <ac:spMkLst>
            <pc:docMk/>
            <pc:sldMk cId="918554454" sldId="447"/>
            <ac:spMk id="3" creationId="{B664586A-8302-0EA7-D52F-74E678F711CE}"/>
          </ac:spMkLst>
        </pc:spChg>
        <pc:spChg chg="add del mod">
          <ac:chgData name="Billy Pugh" userId="543a07ec-a9bd-48ce-8428-bae554a57b04" providerId="ADAL" clId="{37E8C91A-BF94-4A37-99A2-49DFCA669822}" dt="2024-07-01T08:41:39.842" v="198"/>
          <ac:spMkLst>
            <pc:docMk/>
            <pc:sldMk cId="918554454" sldId="447"/>
            <ac:spMk id="6" creationId="{39B1D742-3BCA-153C-D243-3B3763E26FAE}"/>
          </ac:spMkLst>
        </pc:spChg>
        <pc:spChg chg="add mod">
          <ac:chgData name="Billy Pugh" userId="543a07ec-a9bd-48ce-8428-bae554a57b04" providerId="ADAL" clId="{37E8C91A-BF94-4A37-99A2-49DFCA669822}" dt="2024-07-01T13:24:17.073" v="3163" actId="20577"/>
          <ac:spMkLst>
            <pc:docMk/>
            <pc:sldMk cId="918554454" sldId="447"/>
            <ac:spMk id="9" creationId="{FDBACA16-6FDD-2656-5F9E-CBF0F685C98A}"/>
          </ac:spMkLst>
        </pc:spChg>
        <pc:picChg chg="add del mod">
          <ac:chgData name="Billy Pugh" userId="543a07ec-a9bd-48ce-8428-bae554a57b04" providerId="ADAL" clId="{37E8C91A-BF94-4A37-99A2-49DFCA669822}" dt="2024-07-01T08:41:37.316" v="197" actId="478"/>
          <ac:picMkLst>
            <pc:docMk/>
            <pc:sldMk cId="918554454" sldId="447"/>
            <ac:picMk id="5" creationId="{7BFD2B2C-CAEE-E084-1150-A01197957FBF}"/>
          </ac:picMkLst>
        </pc:picChg>
        <pc:picChg chg="add del mod">
          <ac:chgData name="Billy Pugh" userId="543a07ec-a9bd-48ce-8428-bae554a57b04" providerId="ADAL" clId="{37E8C91A-BF94-4A37-99A2-49DFCA669822}" dt="2024-07-01T13:24:04.453" v="3086" actId="478"/>
          <ac:picMkLst>
            <pc:docMk/>
            <pc:sldMk cId="918554454" sldId="447"/>
            <ac:picMk id="8" creationId="{95CDA470-0E05-84DA-E6D3-9A6F72DE7C31}"/>
          </ac:picMkLst>
        </pc:picChg>
      </pc:sldChg>
      <pc:sldChg chg="addSp delSp modSp new mod ord setBg">
        <pc:chgData name="Billy Pugh" userId="543a07ec-a9bd-48ce-8428-bae554a57b04" providerId="ADAL" clId="{37E8C91A-BF94-4A37-99A2-49DFCA669822}" dt="2024-07-01T13:24:30.767" v="3222" actId="20577"/>
        <pc:sldMkLst>
          <pc:docMk/>
          <pc:sldMk cId="4192483955" sldId="448"/>
        </pc:sldMkLst>
        <pc:spChg chg="mod">
          <ac:chgData name="Billy Pugh" userId="543a07ec-a9bd-48ce-8428-bae554a57b04" providerId="ADAL" clId="{37E8C91A-BF94-4A37-99A2-49DFCA669822}" dt="2024-07-01T09:15:01.136" v="211" actId="20577"/>
          <ac:spMkLst>
            <pc:docMk/>
            <pc:sldMk cId="4192483955" sldId="448"/>
            <ac:spMk id="2" creationId="{34BCF5FE-F40D-AA27-1BFF-BBD8636540D4}"/>
          </ac:spMkLst>
        </pc:spChg>
        <pc:spChg chg="del">
          <ac:chgData name="Billy Pugh" userId="543a07ec-a9bd-48ce-8428-bae554a57b04" providerId="ADAL" clId="{37E8C91A-BF94-4A37-99A2-49DFCA669822}" dt="2024-07-01T09:12:27.603" v="205"/>
          <ac:spMkLst>
            <pc:docMk/>
            <pc:sldMk cId="4192483955" sldId="448"/>
            <ac:spMk id="3" creationId="{48035430-A80C-3BE2-570C-39306AD564F3}"/>
          </ac:spMkLst>
        </pc:spChg>
        <pc:spChg chg="add del mod">
          <ac:chgData name="Billy Pugh" userId="543a07ec-a9bd-48ce-8428-bae554a57b04" providerId="ADAL" clId="{37E8C91A-BF94-4A37-99A2-49DFCA669822}" dt="2024-07-01T09:12:33.110" v="207"/>
          <ac:spMkLst>
            <pc:docMk/>
            <pc:sldMk cId="4192483955" sldId="448"/>
            <ac:spMk id="6" creationId="{EE0F1278-2408-56B8-04A3-75D72E4E6CC2}"/>
          </ac:spMkLst>
        </pc:spChg>
        <pc:spChg chg="add mod">
          <ac:chgData name="Billy Pugh" userId="543a07ec-a9bd-48ce-8428-bae554a57b04" providerId="ADAL" clId="{37E8C91A-BF94-4A37-99A2-49DFCA669822}" dt="2024-07-01T13:24:30.767" v="3222" actId="20577"/>
          <ac:spMkLst>
            <pc:docMk/>
            <pc:sldMk cId="4192483955" sldId="448"/>
            <ac:spMk id="9" creationId="{ACEEB19D-8A1A-5CF9-6079-B92BE523BCFD}"/>
          </ac:spMkLst>
        </pc:spChg>
        <pc:picChg chg="add del mod">
          <ac:chgData name="Billy Pugh" userId="543a07ec-a9bd-48ce-8428-bae554a57b04" providerId="ADAL" clId="{37E8C91A-BF94-4A37-99A2-49DFCA669822}" dt="2024-07-01T09:12:29.728" v="206" actId="478"/>
          <ac:picMkLst>
            <pc:docMk/>
            <pc:sldMk cId="4192483955" sldId="448"/>
            <ac:picMk id="5" creationId="{200C9E5E-EC95-9AA5-F464-C39A70846FBC}"/>
          </ac:picMkLst>
        </pc:picChg>
        <pc:picChg chg="add del mod">
          <ac:chgData name="Billy Pugh" userId="543a07ec-a9bd-48ce-8428-bae554a57b04" providerId="ADAL" clId="{37E8C91A-BF94-4A37-99A2-49DFCA669822}" dt="2024-07-01T13:24:20.154" v="3164" actId="478"/>
          <ac:picMkLst>
            <pc:docMk/>
            <pc:sldMk cId="4192483955" sldId="448"/>
            <ac:picMk id="8" creationId="{6C4661E8-8082-9FF9-BD80-1EB2CC86F588}"/>
          </ac:picMkLst>
        </pc:picChg>
      </pc:sldChg>
      <pc:sldChg chg="new del">
        <pc:chgData name="Billy Pugh" userId="543a07ec-a9bd-48ce-8428-bae554a57b04" providerId="ADAL" clId="{37E8C91A-BF94-4A37-99A2-49DFCA669822}" dt="2024-07-01T09:28:15.222" v="214" actId="47"/>
        <pc:sldMkLst>
          <pc:docMk/>
          <pc:sldMk cId="1029736256" sldId="449"/>
        </pc:sldMkLst>
      </pc:sldChg>
      <pc:sldChg chg="modSp new del mod">
        <pc:chgData name="Billy Pugh" userId="543a07ec-a9bd-48ce-8428-bae554a57b04" providerId="ADAL" clId="{37E8C91A-BF94-4A37-99A2-49DFCA669822}" dt="2024-07-01T13:16:14.334" v="2599" actId="47"/>
        <pc:sldMkLst>
          <pc:docMk/>
          <pc:sldMk cId="1084088869" sldId="449"/>
        </pc:sldMkLst>
        <pc:spChg chg="mod">
          <ac:chgData name="Billy Pugh" userId="543a07ec-a9bd-48ce-8428-bae554a57b04" providerId="ADAL" clId="{37E8C91A-BF94-4A37-99A2-49DFCA669822}" dt="2024-07-01T09:28:32.251" v="224" actId="20577"/>
          <ac:spMkLst>
            <pc:docMk/>
            <pc:sldMk cId="1084088869" sldId="449"/>
            <ac:spMk id="2" creationId="{0A34BC04-F990-1D42-BCDF-D541F021A53F}"/>
          </ac:spMkLst>
        </pc:spChg>
        <pc:spChg chg="mod">
          <ac:chgData name="Billy Pugh" userId="543a07ec-a9bd-48ce-8428-bae554a57b04" providerId="ADAL" clId="{37E8C91A-BF94-4A37-99A2-49DFCA669822}" dt="2024-07-01T10:28:38.470" v="660" actId="20577"/>
          <ac:spMkLst>
            <pc:docMk/>
            <pc:sldMk cId="1084088869" sldId="449"/>
            <ac:spMk id="3" creationId="{F7237C00-01E7-5EB5-96B2-3886D6D35D9B}"/>
          </ac:spMkLst>
        </pc:spChg>
      </pc:sldChg>
      <pc:sldChg chg="modSp new mod setBg">
        <pc:chgData name="Billy Pugh" userId="543a07ec-a9bd-48ce-8428-bae554a57b04" providerId="ADAL" clId="{37E8C91A-BF94-4A37-99A2-49DFCA669822}" dt="2024-07-01T13:23:24.921" v="3085"/>
        <pc:sldMkLst>
          <pc:docMk/>
          <pc:sldMk cId="3090450914" sldId="450"/>
        </pc:sldMkLst>
        <pc:spChg chg="mod">
          <ac:chgData name="Billy Pugh" userId="543a07ec-a9bd-48ce-8428-bae554a57b04" providerId="ADAL" clId="{37E8C91A-BF94-4A37-99A2-49DFCA669822}" dt="2024-07-01T10:21:41.982" v="247" actId="20577"/>
          <ac:spMkLst>
            <pc:docMk/>
            <pc:sldMk cId="3090450914" sldId="450"/>
            <ac:spMk id="2" creationId="{B8D03F0F-0C36-7580-EFE5-1C2697273F3D}"/>
          </ac:spMkLst>
        </pc:spChg>
        <pc:spChg chg="mod">
          <ac:chgData name="Billy Pugh" userId="543a07ec-a9bd-48ce-8428-bae554a57b04" providerId="ADAL" clId="{37E8C91A-BF94-4A37-99A2-49DFCA669822}" dt="2024-07-01T13:23:24.921" v="3085"/>
          <ac:spMkLst>
            <pc:docMk/>
            <pc:sldMk cId="3090450914" sldId="450"/>
            <ac:spMk id="3" creationId="{F6D94889-02AB-49C6-EA58-B13314FE769B}"/>
          </ac:spMkLst>
        </pc:spChg>
      </pc:sldChg>
      <pc:sldChg chg="addSp delSp modSp new add del mod setBg">
        <pc:chgData name="Billy Pugh" userId="543a07ec-a9bd-48ce-8428-bae554a57b04" providerId="ADAL" clId="{37E8C91A-BF94-4A37-99A2-49DFCA669822}" dt="2024-07-01T13:22:32.343" v="3014"/>
        <pc:sldMkLst>
          <pc:docMk/>
          <pc:sldMk cId="1449870762" sldId="451"/>
        </pc:sldMkLst>
        <pc:spChg chg="mod">
          <ac:chgData name="Billy Pugh" userId="543a07ec-a9bd-48ce-8428-bae554a57b04" providerId="ADAL" clId="{37E8C91A-BF94-4A37-99A2-49DFCA669822}" dt="2024-07-01T10:43:04.118" v="692" actId="20577"/>
          <ac:spMkLst>
            <pc:docMk/>
            <pc:sldMk cId="1449870762" sldId="451"/>
            <ac:spMk id="2" creationId="{CFA8D7E0-984D-B69F-CD38-4CE3AFA9BE95}"/>
          </ac:spMkLst>
        </pc:spChg>
        <pc:spChg chg="del mod">
          <ac:chgData name="Billy Pugh" userId="543a07ec-a9bd-48ce-8428-bae554a57b04" providerId="ADAL" clId="{37E8C91A-BF94-4A37-99A2-49DFCA669822}" dt="2024-07-01T10:45:41.469" v="754" actId="3680"/>
          <ac:spMkLst>
            <pc:docMk/>
            <pc:sldMk cId="1449870762" sldId="451"/>
            <ac:spMk id="3" creationId="{923D333F-D5BF-FD2D-C809-DE4382371F3F}"/>
          </ac:spMkLst>
        </pc:spChg>
        <pc:graphicFrameChg chg="add mod ord modGraphic">
          <ac:chgData name="Billy Pugh" userId="543a07ec-a9bd-48ce-8428-bae554a57b04" providerId="ADAL" clId="{37E8C91A-BF94-4A37-99A2-49DFCA669822}" dt="2024-07-01T10:54:25.064" v="1256" actId="20577"/>
          <ac:graphicFrameMkLst>
            <pc:docMk/>
            <pc:sldMk cId="1449870762" sldId="451"/>
            <ac:graphicFrameMk id="4" creationId="{2AF21982-74E4-B30E-AC92-7FD0DB846CC2}"/>
          </ac:graphicFrameMkLst>
        </pc:graphicFrameChg>
      </pc:sldChg>
      <pc:sldChg chg="modSp new mod setBg">
        <pc:chgData name="Billy Pugh" userId="543a07ec-a9bd-48ce-8428-bae554a57b04" providerId="ADAL" clId="{37E8C91A-BF94-4A37-99A2-49DFCA669822}" dt="2024-07-01T13:22:27.102" v="3013"/>
        <pc:sldMkLst>
          <pc:docMk/>
          <pc:sldMk cId="2110579021" sldId="452"/>
        </pc:sldMkLst>
        <pc:spChg chg="mod">
          <ac:chgData name="Billy Pugh" userId="543a07ec-a9bd-48ce-8428-bae554a57b04" providerId="ADAL" clId="{37E8C91A-BF94-4A37-99A2-49DFCA669822}" dt="2024-07-01T13:19:57.696" v="2770" actId="20577"/>
          <ac:spMkLst>
            <pc:docMk/>
            <pc:sldMk cId="2110579021" sldId="452"/>
            <ac:spMk id="2" creationId="{6B194FD2-9A85-E6BD-A6EC-910E65061E7B}"/>
          </ac:spMkLst>
        </pc:spChg>
        <pc:spChg chg="mod">
          <ac:chgData name="Billy Pugh" userId="543a07ec-a9bd-48ce-8428-bae554a57b04" providerId="ADAL" clId="{37E8C91A-BF94-4A37-99A2-49DFCA669822}" dt="2024-07-01T13:21:52.351" v="3009" actId="20577"/>
          <ac:spMkLst>
            <pc:docMk/>
            <pc:sldMk cId="2110579021" sldId="452"/>
            <ac:spMk id="3" creationId="{7188D5B0-DCFF-7CD9-52A5-56E0E7924643}"/>
          </ac:spMkLst>
        </pc:spChg>
      </pc:sldChg>
      <pc:sldChg chg="new del">
        <pc:chgData name="Billy Pugh" userId="543a07ec-a9bd-48ce-8428-bae554a57b04" providerId="ADAL" clId="{37E8C91A-BF94-4A37-99A2-49DFCA669822}" dt="2024-07-01T11:56:59.512" v="1294" actId="47"/>
        <pc:sldMkLst>
          <pc:docMk/>
          <pc:sldMk cId="2550737492" sldId="453"/>
        </pc:sldMkLst>
      </pc:sldChg>
      <pc:sldChg chg="modSp add mod setBg">
        <pc:chgData name="Billy Pugh" userId="543a07ec-a9bd-48ce-8428-bae554a57b04" providerId="ADAL" clId="{37E8C91A-BF94-4A37-99A2-49DFCA669822}" dt="2024-07-01T13:25:23.352" v="3231"/>
        <pc:sldMkLst>
          <pc:docMk/>
          <pc:sldMk cId="2940961385" sldId="453"/>
        </pc:sldMkLst>
        <pc:spChg chg="mod">
          <ac:chgData name="Billy Pugh" userId="543a07ec-a9bd-48ce-8428-bae554a57b04" providerId="ADAL" clId="{37E8C91A-BF94-4A37-99A2-49DFCA669822}" dt="2024-07-01T13:08:39.070" v="2009" actId="20577"/>
          <ac:spMkLst>
            <pc:docMk/>
            <pc:sldMk cId="2940961385" sldId="453"/>
            <ac:spMk id="2" creationId="{6B194FD2-9A85-E6BD-A6EC-910E65061E7B}"/>
          </ac:spMkLst>
        </pc:spChg>
        <pc:spChg chg="mod">
          <ac:chgData name="Billy Pugh" userId="543a07ec-a9bd-48ce-8428-bae554a57b04" providerId="ADAL" clId="{37E8C91A-BF94-4A37-99A2-49DFCA669822}" dt="2024-07-01T13:19:43.918" v="2728" actId="20577"/>
          <ac:spMkLst>
            <pc:docMk/>
            <pc:sldMk cId="2940961385" sldId="453"/>
            <ac:spMk id="3" creationId="{7188D5B0-DCFF-7CD9-52A5-56E0E7924643}"/>
          </ac:spMkLst>
        </pc:spChg>
      </pc:sldChg>
      <pc:sldChg chg="modSp add mod setBg">
        <pc:chgData name="Billy Pugh" userId="543a07ec-a9bd-48ce-8428-bae554a57b04" providerId="ADAL" clId="{37E8C91A-BF94-4A37-99A2-49DFCA669822}" dt="2024-07-01T13:22:46.723" v="3015"/>
        <pc:sldMkLst>
          <pc:docMk/>
          <pc:sldMk cId="590379773" sldId="454"/>
        </pc:sldMkLst>
        <pc:spChg chg="mod">
          <ac:chgData name="Billy Pugh" userId="543a07ec-a9bd-48ce-8428-bae554a57b04" providerId="ADAL" clId="{37E8C91A-BF94-4A37-99A2-49DFCA669822}" dt="2024-07-01T13:08:30.299" v="1983" actId="20577"/>
          <ac:spMkLst>
            <pc:docMk/>
            <pc:sldMk cId="590379773" sldId="454"/>
            <ac:spMk id="2" creationId="{6B194FD2-9A85-E6BD-A6EC-910E65061E7B}"/>
          </ac:spMkLst>
        </pc:spChg>
        <pc:spChg chg="mod">
          <ac:chgData name="Billy Pugh" userId="543a07ec-a9bd-48ce-8428-bae554a57b04" providerId="ADAL" clId="{37E8C91A-BF94-4A37-99A2-49DFCA669822}" dt="2024-07-01T13:13:51.924" v="2314" actId="20577"/>
          <ac:spMkLst>
            <pc:docMk/>
            <pc:sldMk cId="590379773" sldId="454"/>
            <ac:spMk id="3" creationId="{7188D5B0-DCFF-7CD9-52A5-56E0E7924643}"/>
          </ac:spMkLst>
        </pc:spChg>
      </pc:sldChg>
      <pc:sldChg chg="modSp add mod setBg">
        <pc:chgData name="Billy Pugh" userId="543a07ec-a9bd-48ce-8428-bae554a57b04" providerId="ADAL" clId="{37E8C91A-BF94-4A37-99A2-49DFCA669822}" dt="2024-07-01T13:22:46.723" v="3015"/>
        <pc:sldMkLst>
          <pc:docMk/>
          <pc:sldMk cId="4293882079" sldId="455"/>
        </pc:sldMkLst>
        <pc:spChg chg="mod">
          <ac:chgData name="Billy Pugh" userId="543a07ec-a9bd-48ce-8428-bae554a57b04" providerId="ADAL" clId="{37E8C91A-BF94-4A37-99A2-49DFCA669822}" dt="2024-07-01T13:08:25.592" v="1974" actId="20577"/>
          <ac:spMkLst>
            <pc:docMk/>
            <pc:sldMk cId="4293882079" sldId="455"/>
            <ac:spMk id="2" creationId="{6B194FD2-9A85-E6BD-A6EC-910E65061E7B}"/>
          </ac:spMkLst>
        </pc:spChg>
        <pc:spChg chg="mod">
          <ac:chgData name="Billy Pugh" userId="543a07ec-a9bd-48ce-8428-bae554a57b04" providerId="ADAL" clId="{37E8C91A-BF94-4A37-99A2-49DFCA669822}" dt="2024-07-01T13:16:10.112" v="2598" actId="20577"/>
          <ac:spMkLst>
            <pc:docMk/>
            <pc:sldMk cId="4293882079" sldId="455"/>
            <ac:spMk id="3" creationId="{7188D5B0-DCFF-7CD9-52A5-56E0E7924643}"/>
          </ac:spMkLst>
        </pc:spChg>
      </pc:sldChg>
    </pc:docChg>
  </pc:docChgLst>
  <pc:docChgLst>
    <pc:chgData name="David Faichney" userId="S::david.faichney@gov.scot::505a9306-c624-486b-925f-51afabd75b95" providerId="AD" clId="Web-{063CCA71-298D-EC02-6E0D-79C3F904E7D1}"/>
    <pc:docChg chg="sldOrd">
      <pc:chgData name="David Faichney" userId="S::david.faichney@gov.scot::505a9306-c624-486b-925f-51afabd75b95" providerId="AD" clId="Web-{063CCA71-298D-EC02-6E0D-79C3F904E7D1}" dt="2024-07-11T10:07:49.924" v="0"/>
      <pc:docMkLst>
        <pc:docMk/>
      </pc:docMkLst>
      <pc:sldChg chg="ord">
        <pc:chgData name="David Faichney" userId="S::david.faichney@gov.scot::505a9306-c624-486b-925f-51afabd75b95" providerId="AD" clId="Web-{063CCA71-298D-EC02-6E0D-79C3F904E7D1}" dt="2024-07-11T10:07:49.924" v="0"/>
        <pc:sldMkLst>
          <pc:docMk/>
          <pc:sldMk cId="3073273346" sldId="363"/>
        </pc:sldMkLst>
      </pc:sldChg>
    </pc:docChg>
  </pc:docChgLst>
  <pc:docChgLst>
    <pc:chgData name="David Faichney" userId="S::david.faichney@gov.scot::505a9306-c624-486b-925f-51afabd75b95" providerId="AD" clId="Web-{EE5EEDA6-F62A-2675-C92B-175D5ACD3842}"/>
    <pc:docChg chg="modSld">
      <pc:chgData name="David Faichney" userId="S::david.faichney@gov.scot::505a9306-c624-486b-925f-51afabd75b95" providerId="AD" clId="Web-{EE5EEDA6-F62A-2675-C92B-175D5ACD3842}" dt="2024-07-30T15:16:16.870" v="122" actId="20577"/>
      <pc:docMkLst>
        <pc:docMk/>
      </pc:docMkLst>
      <pc:sldChg chg="modSp">
        <pc:chgData name="David Faichney" userId="S::david.faichney@gov.scot::505a9306-c624-486b-925f-51afabd75b95" providerId="AD" clId="Web-{EE5EEDA6-F62A-2675-C92B-175D5ACD3842}" dt="2024-07-30T15:10:05.709" v="21" actId="20577"/>
        <pc:sldMkLst>
          <pc:docMk/>
          <pc:sldMk cId="1073962225" sldId="257"/>
        </pc:sldMkLst>
        <pc:spChg chg="mod">
          <ac:chgData name="David Faichney" userId="S::david.faichney@gov.scot::505a9306-c624-486b-925f-51afabd75b95" providerId="AD" clId="Web-{EE5EEDA6-F62A-2675-C92B-175D5ACD3842}" dt="2024-07-30T15:10:05.709" v="21" actId="20577"/>
          <ac:spMkLst>
            <pc:docMk/>
            <pc:sldMk cId="1073962225" sldId="257"/>
            <ac:spMk id="2" creationId="{00000000-0000-0000-0000-000000000000}"/>
          </ac:spMkLst>
        </pc:spChg>
      </pc:sldChg>
      <pc:sldChg chg="addSp modSp">
        <pc:chgData name="David Faichney" userId="S::david.faichney@gov.scot::505a9306-c624-486b-925f-51afabd75b95" providerId="AD" clId="Web-{EE5EEDA6-F62A-2675-C92B-175D5ACD3842}" dt="2024-07-30T15:16:16.870" v="122" actId="20577"/>
        <pc:sldMkLst>
          <pc:docMk/>
          <pc:sldMk cId="1231901124" sldId="435"/>
        </pc:sldMkLst>
        <pc:spChg chg="add mod">
          <ac:chgData name="David Faichney" userId="S::david.faichney@gov.scot::505a9306-c624-486b-925f-51afabd75b95" providerId="AD" clId="Web-{EE5EEDA6-F62A-2675-C92B-175D5ACD3842}" dt="2024-07-30T15:16:16.870" v="122" actId="20577"/>
          <ac:spMkLst>
            <pc:docMk/>
            <pc:sldMk cId="1231901124" sldId="435"/>
            <ac:spMk id="75" creationId="{6649684F-793D-9E05-299E-8CB09E780A01}"/>
          </ac:spMkLst>
        </pc:spChg>
        <pc:graphicFrameChg chg="modGraphic">
          <ac:chgData name="David Faichney" userId="S::david.faichney@gov.scot::505a9306-c624-486b-925f-51afabd75b95" providerId="AD" clId="Web-{EE5EEDA6-F62A-2675-C92B-175D5ACD3842}" dt="2024-07-30T15:13:59.909" v="69" actId="20577"/>
          <ac:graphicFrameMkLst>
            <pc:docMk/>
            <pc:sldMk cId="1231901124" sldId="435"/>
            <ac:graphicFrameMk id="4" creationId="{43D828FB-30DD-0148-A9D1-41368AD2D33B}"/>
          </ac:graphicFrameMkLst>
        </pc:graphicFrameChg>
        <pc:picChg chg="add mod">
          <ac:chgData name="David Faichney" userId="S::david.faichney@gov.scot::505a9306-c624-486b-925f-51afabd75b95" providerId="AD" clId="Web-{EE5EEDA6-F62A-2675-C92B-175D5ACD3842}" dt="2024-07-30T15:15:52.369" v="118" actId="1076"/>
          <ac:picMkLst>
            <pc:docMk/>
            <pc:sldMk cId="1231901124" sldId="435"/>
            <ac:picMk id="76" creationId="{F298198A-DADA-92CA-7DAC-EE6E8A2430A6}"/>
          </ac:picMkLst>
        </pc:picChg>
      </pc:sldChg>
      <pc:sldChg chg="modSp">
        <pc:chgData name="David Faichney" userId="S::david.faichney@gov.scot::505a9306-c624-486b-925f-51afabd75b95" providerId="AD" clId="Web-{EE5EEDA6-F62A-2675-C92B-175D5ACD3842}" dt="2024-07-30T15:13:15.532" v="66" actId="20577"/>
        <pc:sldMkLst>
          <pc:docMk/>
          <pc:sldMk cId="342451886" sldId="438"/>
        </pc:sldMkLst>
        <pc:graphicFrameChg chg="mod modGraphic">
          <ac:chgData name="David Faichney" userId="S::david.faichney@gov.scot::505a9306-c624-486b-925f-51afabd75b95" providerId="AD" clId="Web-{EE5EEDA6-F62A-2675-C92B-175D5ACD3842}" dt="2024-07-30T15:13:15.532" v="66" actId="20577"/>
          <ac:graphicFrameMkLst>
            <pc:docMk/>
            <pc:sldMk cId="342451886" sldId="438"/>
            <ac:graphicFrameMk id="6" creationId="{BB35A1B6-4446-96D4-A7FD-AD2BF7A57254}"/>
          </ac:graphicFrameMkLst>
        </pc:graphicFrameChg>
      </pc:sldChg>
      <pc:sldChg chg="modSp">
        <pc:chgData name="David Faichney" userId="S::david.faichney@gov.scot::505a9306-c624-486b-925f-51afabd75b95" providerId="AD" clId="Web-{EE5EEDA6-F62A-2675-C92B-175D5ACD3842}" dt="2024-07-30T15:08:11.015" v="9" actId="20577"/>
        <pc:sldMkLst>
          <pc:docMk/>
          <pc:sldMk cId="2110579021" sldId="452"/>
        </pc:sldMkLst>
        <pc:spChg chg="mod">
          <ac:chgData name="David Faichney" userId="S::david.faichney@gov.scot::505a9306-c624-486b-925f-51afabd75b95" providerId="AD" clId="Web-{EE5EEDA6-F62A-2675-C92B-175D5ACD3842}" dt="2024-07-30T15:07:54.139" v="7" actId="20577"/>
          <ac:spMkLst>
            <pc:docMk/>
            <pc:sldMk cId="2110579021" sldId="452"/>
            <ac:spMk id="3" creationId="{7188D5B0-DCFF-7CD9-52A5-56E0E7924643}"/>
          </ac:spMkLst>
        </pc:spChg>
        <pc:spChg chg="mod">
          <ac:chgData name="David Faichney" userId="S::david.faichney@gov.scot::505a9306-c624-486b-925f-51afabd75b95" providerId="AD" clId="Web-{EE5EEDA6-F62A-2675-C92B-175D5ACD3842}" dt="2024-07-30T15:08:11.015" v="9" actId="20577"/>
          <ac:spMkLst>
            <pc:docMk/>
            <pc:sldMk cId="2110579021" sldId="452"/>
            <ac:spMk id="4" creationId="{1414A277-E931-7198-229D-2D94E33D5BE6}"/>
          </ac:spMkLst>
        </pc:spChg>
      </pc:sldChg>
      <pc:sldChg chg="modSp">
        <pc:chgData name="David Faichney" userId="S::david.faichney@gov.scot::505a9306-c624-486b-925f-51afabd75b95" providerId="AD" clId="Web-{EE5EEDA6-F62A-2675-C92B-175D5ACD3842}" dt="2024-07-30T15:09:01.846" v="10" actId="20577"/>
        <pc:sldMkLst>
          <pc:docMk/>
          <pc:sldMk cId="590379773" sldId="454"/>
        </pc:sldMkLst>
        <pc:spChg chg="mod">
          <ac:chgData name="David Faichney" userId="S::david.faichney@gov.scot::505a9306-c624-486b-925f-51afabd75b95" providerId="AD" clId="Web-{EE5EEDA6-F62A-2675-C92B-175D5ACD3842}" dt="2024-07-30T15:09:01.846" v="10" actId="20577"/>
          <ac:spMkLst>
            <pc:docMk/>
            <pc:sldMk cId="590379773" sldId="454"/>
            <ac:spMk id="3" creationId="{7188D5B0-DCFF-7CD9-52A5-56E0E7924643}"/>
          </ac:spMkLst>
        </pc:spChg>
      </pc:sldChg>
      <pc:sldChg chg="modSp">
        <pc:chgData name="David Faichney" userId="S::david.faichney@gov.scot::505a9306-c624-486b-925f-51afabd75b95" providerId="AD" clId="Web-{EE5EEDA6-F62A-2675-C92B-175D5ACD3842}" dt="2024-07-30T15:09:26.160" v="15" actId="20577"/>
        <pc:sldMkLst>
          <pc:docMk/>
          <pc:sldMk cId="4293882079" sldId="455"/>
        </pc:sldMkLst>
        <pc:spChg chg="mod">
          <ac:chgData name="David Faichney" userId="S::david.faichney@gov.scot::505a9306-c624-486b-925f-51afabd75b95" providerId="AD" clId="Web-{EE5EEDA6-F62A-2675-C92B-175D5ACD3842}" dt="2024-07-30T15:09:26.160" v="15" actId="20577"/>
          <ac:spMkLst>
            <pc:docMk/>
            <pc:sldMk cId="4293882079" sldId="455"/>
            <ac:spMk id="3" creationId="{7188D5B0-DCFF-7CD9-52A5-56E0E7924643}"/>
          </ac:spMkLst>
        </pc:spChg>
      </pc:sldChg>
    </pc:docChg>
  </pc:docChgLst>
  <pc:docChgLst>
    <pc:chgData name="David Faichney" userId="S::david.faichney@gov.scot::505a9306-c624-486b-925f-51afabd75b95" providerId="AD" clId="Web-{E67D9A43-9E2A-1973-2544-7DD0676DAB9A}"/>
    <pc:docChg chg="modSld sldOrd">
      <pc:chgData name="David Faichney" userId="S::david.faichney@gov.scot::505a9306-c624-486b-925f-51afabd75b95" providerId="AD" clId="Web-{E67D9A43-9E2A-1973-2544-7DD0676DAB9A}" dt="2024-07-25T11:02:29.177" v="307"/>
      <pc:docMkLst>
        <pc:docMk/>
      </pc:docMkLst>
      <pc:sldChg chg="modSp">
        <pc:chgData name="David Faichney" userId="S::david.faichney@gov.scot::505a9306-c624-486b-925f-51afabd75b95" providerId="AD" clId="Web-{E67D9A43-9E2A-1973-2544-7DD0676DAB9A}" dt="2024-07-25T10:27:59.529" v="8" actId="20577"/>
        <pc:sldMkLst>
          <pc:docMk/>
          <pc:sldMk cId="1073962225" sldId="257"/>
        </pc:sldMkLst>
        <pc:spChg chg="mod">
          <ac:chgData name="David Faichney" userId="S::david.faichney@gov.scot::505a9306-c624-486b-925f-51afabd75b95" providerId="AD" clId="Web-{E67D9A43-9E2A-1973-2544-7DD0676DAB9A}" dt="2024-07-25T10:27:59.529" v="8" actId="20577"/>
          <ac:spMkLst>
            <pc:docMk/>
            <pc:sldMk cId="1073962225" sldId="257"/>
            <ac:spMk id="2" creationId="{00000000-0000-0000-0000-000000000000}"/>
          </ac:spMkLst>
        </pc:spChg>
      </pc:sldChg>
      <pc:sldChg chg="ord">
        <pc:chgData name="David Faichney" userId="S::david.faichney@gov.scot::505a9306-c624-486b-925f-51afabd75b95" providerId="AD" clId="Web-{E67D9A43-9E2A-1973-2544-7DD0676DAB9A}" dt="2024-07-25T11:02:26.536" v="306"/>
        <pc:sldMkLst>
          <pc:docMk/>
          <pc:sldMk cId="3242841683" sldId="439"/>
        </pc:sldMkLst>
      </pc:sldChg>
      <pc:sldChg chg="modSp">
        <pc:chgData name="David Faichney" userId="S::david.faichney@gov.scot::505a9306-c624-486b-925f-51afabd75b95" providerId="AD" clId="Web-{E67D9A43-9E2A-1973-2544-7DD0676DAB9A}" dt="2024-07-25T10:30:43.241" v="132"/>
        <pc:sldMkLst>
          <pc:docMk/>
          <pc:sldMk cId="1449870762" sldId="451"/>
        </pc:sldMkLst>
        <pc:graphicFrameChg chg="mod modGraphic">
          <ac:chgData name="David Faichney" userId="S::david.faichney@gov.scot::505a9306-c624-486b-925f-51afabd75b95" providerId="AD" clId="Web-{E67D9A43-9E2A-1973-2544-7DD0676DAB9A}" dt="2024-07-25T10:30:43.241" v="132"/>
          <ac:graphicFrameMkLst>
            <pc:docMk/>
            <pc:sldMk cId="1449870762" sldId="451"/>
            <ac:graphicFrameMk id="4" creationId="{2AF21982-74E4-B30E-AC92-7FD0DB846CC2}"/>
          </ac:graphicFrameMkLst>
        </pc:graphicFrameChg>
      </pc:sldChg>
      <pc:sldChg chg="addSp modSp">
        <pc:chgData name="David Faichney" userId="S::david.faichney@gov.scot::505a9306-c624-486b-925f-51afabd75b95" providerId="AD" clId="Web-{E67D9A43-9E2A-1973-2544-7DD0676DAB9A}" dt="2024-07-25T11:02:01.019" v="305" actId="14100"/>
        <pc:sldMkLst>
          <pc:docMk/>
          <pc:sldMk cId="2110579021" sldId="452"/>
        </pc:sldMkLst>
        <pc:spChg chg="mod">
          <ac:chgData name="David Faichney" userId="S::david.faichney@gov.scot::505a9306-c624-486b-925f-51afabd75b95" providerId="AD" clId="Web-{E67D9A43-9E2A-1973-2544-7DD0676DAB9A}" dt="2024-07-25T11:00:28.389" v="288" actId="20577"/>
          <ac:spMkLst>
            <pc:docMk/>
            <pc:sldMk cId="2110579021" sldId="452"/>
            <ac:spMk id="3" creationId="{7188D5B0-DCFF-7CD9-52A5-56E0E7924643}"/>
          </ac:spMkLst>
        </pc:spChg>
        <pc:spChg chg="add mod">
          <ac:chgData name="David Faichney" userId="S::david.faichney@gov.scot::505a9306-c624-486b-925f-51afabd75b95" providerId="AD" clId="Web-{E67D9A43-9E2A-1973-2544-7DD0676DAB9A}" dt="2024-07-25T11:02:01.019" v="305" actId="14100"/>
          <ac:spMkLst>
            <pc:docMk/>
            <pc:sldMk cId="2110579021" sldId="452"/>
            <ac:spMk id="4" creationId="{1414A277-E931-7198-229D-2D94E33D5BE6}"/>
          </ac:spMkLst>
        </pc:spChg>
      </pc:sldChg>
      <pc:sldChg chg="modSp ord">
        <pc:chgData name="David Faichney" userId="S::david.faichney@gov.scot::505a9306-c624-486b-925f-51afabd75b95" providerId="AD" clId="Web-{E67D9A43-9E2A-1973-2544-7DD0676DAB9A}" dt="2024-07-25T11:02:29.177" v="307"/>
        <pc:sldMkLst>
          <pc:docMk/>
          <pc:sldMk cId="2940961385" sldId="453"/>
        </pc:sldMkLst>
        <pc:spChg chg="mod">
          <ac:chgData name="David Faichney" userId="S::david.faichney@gov.scot::505a9306-c624-486b-925f-51afabd75b95" providerId="AD" clId="Web-{E67D9A43-9E2A-1973-2544-7DD0676DAB9A}" dt="2024-07-25T10:45:47.511" v="265" actId="20577"/>
          <ac:spMkLst>
            <pc:docMk/>
            <pc:sldMk cId="2940961385" sldId="453"/>
            <ac:spMk id="3" creationId="{7188D5B0-DCFF-7CD9-52A5-56E0E7924643}"/>
          </ac:spMkLst>
        </pc:spChg>
      </pc:sldChg>
      <pc:sldChg chg="modSp ord">
        <pc:chgData name="David Faichney" userId="S::david.faichney@gov.scot::505a9306-c624-486b-925f-51afabd75b95" providerId="AD" clId="Web-{E67D9A43-9E2A-1973-2544-7DD0676DAB9A}" dt="2024-07-25T10:45:48.792" v="266"/>
        <pc:sldMkLst>
          <pc:docMk/>
          <pc:sldMk cId="590379773" sldId="454"/>
        </pc:sldMkLst>
        <pc:spChg chg="mod">
          <ac:chgData name="David Faichney" userId="S::david.faichney@gov.scot::505a9306-c624-486b-925f-51afabd75b95" providerId="AD" clId="Web-{E67D9A43-9E2A-1973-2544-7DD0676DAB9A}" dt="2024-07-25T10:40:26.852" v="208" actId="20577"/>
          <ac:spMkLst>
            <pc:docMk/>
            <pc:sldMk cId="590379773" sldId="454"/>
            <ac:spMk id="3" creationId="{7188D5B0-DCFF-7CD9-52A5-56E0E7924643}"/>
          </ac:spMkLst>
        </pc:spChg>
      </pc:sldChg>
      <pc:sldChg chg="modSp">
        <pc:chgData name="David Faichney" userId="S::david.faichney@gov.scot::505a9306-c624-486b-925f-51afabd75b95" providerId="AD" clId="Web-{E67D9A43-9E2A-1973-2544-7DD0676DAB9A}" dt="2024-07-25T10:43:34.597" v="252" actId="20577"/>
        <pc:sldMkLst>
          <pc:docMk/>
          <pc:sldMk cId="4293882079" sldId="455"/>
        </pc:sldMkLst>
        <pc:spChg chg="mod">
          <ac:chgData name="David Faichney" userId="S::david.faichney@gov.scot::505a9306-c624-486b-925f-51afabd75b95" providerId="AD" clId="Web-{E67D9A43-9E2A-1973-2544-7DD0676DAB9A}" dt="2024-07-25T10:43:34.597" v="252" actId="20577"/>
          <ac:spMkLst>
            <pc:docMk/>
            <pc:sldMk cId="4293882079" sldId="455"/>
            <ac:spMk id="3" creationId="{7188D5B0-DCFF-7CD9-52A5-56E0E7924643}"/>
          </ac:spMkLst>
        </pc:spChg>
      </pc:sldChg>
    </pc:docChg>
  </pc:docChgLst>
  <pc:docChgLst>
    <pc:chgData name="Billy Pugh" userId="543a07ec-a9bd-48ce-8428-bae554a57b04" providerId="ADAL" clId="{15DFA449-8D96-48DA-A37D-125008AB4CCC}"/>
    <pc:docChg chg="modSld">
      <pc:chgData name="Billy Pugh" userId="543a07ec-a9bd-48ce-8428-bae554a57b04" providerId="ADAL" clId="{15DFA449-8D96-48DA-A37D-125008AB4CCC}" dt="2024-07-02T10:42:50.283" v="16" actId="1076"/>
      <pc:docMkLst>
        <pc:docMk/>
      </pc:docMkLst>
      <pc:sldChg chg="addSp delSp modSp mod">
        <pc:chgData name="Billy Pugh" userId="543a07ec-a9bd-48ce-8428-bae554a57b04" providerId="ADAL" clId="{15DFA449-8D96-48DA-A37D-125008AB4CCC}" dt="2024-07-02T10:42:21.741" v="8" actId="1076"/>
        <pc:sldMkLst>
          <pc:docMk/>
          <pc:sldMk cId="918554454" sldId="447"/>
        </pc:sldMkLst>
        <pc:spChg chg="del mod">
          <ac:chgData name="Billy Pugh" userId="543a07ec-a9bd-48ce-8428-bae554a57b04" providerId="ADAL" clId="{15DFA449-8D96-48DA-A37D-125008AB4CCC}" dt="2024-07-02T10:42:14.530" v="6" actId="478"/>
          <ac:spMkLst>
            <pc:docMk/>
            <pc:sldMk cId="918554454" sldId="447"/>
            <ac:spMk id="9" creationId="{FDBACA16-6FDD-2656-5F9E-CBF0F685C98A}"/>
          </ac:spMkLst>
        </pc:spChg>
        <pc:picChg chg="add mod">
          <ac:chgData name="Billy Pugh" userId="543a07ec-a9bd-48ce-8428-bae554a57b04" providerId="ADAL" clId="{15DFA449-8D96-48DA-A37D-125008AB4CCC}" dt="2024-07-02T10:42:21.741" v="8" actId="1076"/>
          <ac:picMkLst>
            <pc:docMk/>
            <pc:sldMk cId="918554454" sldId="447"/>
            <ac:picMk id="4" creationId="{03D3A1EA-C3FE-DE3C-A83E-B2287125741B}"/>
          </ac:picMkLst>
        </pc:picChg>
      </pc:sldChg>
      <pc:sldChg chg="addSp delSp modSp mod">
        <pc:chgData name="Billy Pugh" userId="543a07ec-a9bd-48ce-8428-bae554a57b04" providerId="ADAL" clId="{15DFA449-8D96-48DA-A37D-125008AB4CCC}" dt="2024-07-02T10:42:50.283" v="16" actId="1076"/>
        <pc:sldMkLst>
          <pc:docMk/>
          <pc:sldMk cId="4192483955" sldId="448"/>
        </pc:sldMkLst>
        <pc:spChg chg="add del mod">
          <ac:chgData name="Billy Pugh" userId="543a07ec-a9bd-48ce-8428-bae554a57b04" providerId="ADAL" clId="{15DFA449-8D96-48DA-A37D-125008AB4CCC}" dt="2024-07-02T10:42:39.733" v="11"/>
          <ac:spMkLst>
            <pc:docMk/>
            <pc:sldMk cId="4192483955" sldId="448"/>
            <ac:spMk id="3" creationId="{80B88617-63A4-1087-5292-55FBCAB4F154}"/>
          </ac:spMkLst>
        </pc:spChg>
        <pc:spChg chg="del mod">
          <ac:chgData name="Billy Pugh" userId="543a07ec-a9bd-48ce-8428-bae554a57b04" providerId="ADAL" clId="{15DFA449-8D96-48DA-A37D-125008AB4CCC}" dt="2024-07-02T10:42:34.771" v="10" actId="478"/>
          <ac:spMkLst>
            <pc:docMk/>
            <pc:sldMk cId="4192483955" sldId="448"/>
            <ac:spMk id="9" creationId="{ACEEB19D-8A1A-5CF9-6079-B92BE523BCFD}"/>
          </ac:spMkLst>
        </pc:spChg>
        <pc:picChg chg="add mod">
          <ac:chgData name="Billy Pugh" userId="543a07ec-a9bd-48ce-8428-bae554a57b04" providerId="ADAL" clId="{15DFA449-8D96-48DA-A37D-125008AB4CCC}" dt="2024-07-02T10:42:50.283" v="16" actId="1076"/>
          <ac:picMkLst>
            <pc:docMk/>
            <pc:sldMk cId="4192483955" sldId="448"/>
            <ac:picMk id="5" creationId="{01C36DE6-5E6E-F448-432D-D2172966BA00}"/>
          </ac:picMkLst>
        </pc:picChg>
      </pc:sldChg>
    </pc:docChg>
  </pc:docChgLst>
</pc:chgInfo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_rels/data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3" Type="http://schemas.openxmlformats.org/officeDocument/2006/relationships/image" Target="../media/image17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image" Target="../media/image24.svg"/><Relationship Id="rId16" Type="http://schemas.openxmlformats.org/officeDocument/2006/relationships/image" Target="../media/image20.svg"/><Relationship Id="rId1" Type="http://schemas.openxmlformats.org/officeDocument/2006/relationships/image" Target="../media/image23.png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19.png"/><Relationship Id="rId10" Type="http://schemas.openxmlformats.org/officeDocument/2006/relationships/image" Target="../media/image30.svg"/><Relationship Id="rId4" Type="http://schemas.openxmlformats.org/officeDocument/2006/relationships/image" Target="../media/image18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diagrams/_rels/data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Relationship Id="rId14" Type="http://schemas.openxmlformats.org/officeDocument/2006/relationships/image" Target="../media/image48.svg"/></Relationships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21.png"/><Relationship Id="rId7" Type="http://schemas.openxmlformats.org/officeDocument/2006/relationships/image" Target="../media/image53.png"/><Relationship Id="rId12" Type="http://schemas.openxmlformats.org/officeDocument/2006/relationships/image" Target="../media/image58.svg"/><Relationship Id="rId2" Type="http://schemas.openxmlformats.org/officeDocument/2006/relationships/image" Target="../media/image50.svg"/><Relationship Id="rId1" Type="http://schemas.openxmlformats.org/officeDocument/2006/relationships/image" Target="../media/image49.png"/><Relationship Id="rId6" Type="http://schemas.openxmlformats.org/officeDocument/2006/relationships/image" Target="../media/image52.sv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svg"/><Relationship Id="rId4" Type="http://schemas.openxmlformats.org/officeDocument/2006/relationships/image" Target="../media/image22.svg"/><Relationship Id="rId9" Type="http://schemas.openxmlformats.org/officeDocument/2006/relationships/image" Target="../media/image55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_rels/drawing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3" Type="http://schemas.openxmlformats.org/officeDocument/2006/relationships/image" Target="../media/image17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image" Target="../media/image24.svg"/><Relationship Id="rId16" Type="http://schemas.openxmlformats.org/officeDocument/2006/relationships/image" Target="../media/image20.svg"/><Relationship Id="rId1" Type="http://schemas.openxmlformats.org/officeDocument/2006/relationships/image" Target="../media/image23.png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19.png"/><Relationship Id="rId10" Type="http://schemas.openxmlformats.org/officeDocument/2006/relationships/image" Target="../media/image30.svg"/><Relationship Id="rId4" Type="http://schemas.openxmlformats.org/officeDocument/2006/relationships/image" Target="../media/image18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diagrams/_rels/drawing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image" Target="../media/image24.svg"/><Relationship Id="rId1" Type="http://schemas.openxmlformats.org/officeDocument/2006/relationships/image" Target="../media/image23.png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8.svg"/><Relationship Id="rId9" Type="http://schemas.openxmlformats.org/officeDocument/2006/relationships/image" Target="../media/image43.png"/><Relationship Id="rId14" Type="http://schemas.openxmlformats.org/officeDocument/2006/relationships/image" Target="../media/image48.sv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svg"/><Relationship Id="rId3" Type="http://schemas.openxmlformats.org/officeDocument/2006/relationships/image" Target="../media/image21.png"/><Relationship Id="rId7" Type="http://schemas.openxmlformats.org/officeDocument/2006/relationships/image" Target="../media/image53.png"/><Relationship Id="rId12" Type="http://schemas.openxmlformats.org/officeDocument/2006/relationships/image" Target="../media/image58.svg"/><Relationship Id="rId2" Type="http://schemas.openxmlformats.org/officeDocument/2006/relationships/image" Target="../media/image50.svg"/><Relationship Id="rId1" Type="http://schemas.openxmlformats.org/officeDocument/2006/relationships/image" Target="../media/image49.png"/><Relationship Id="rId6" Type="http://schemas.openxmlformats.org/officeDocument/2006/relationships/image" Target="../media/image52.sv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svg"/><Relationship Id="rId4" Type="http://schemas.openxmlformats.org/officeDocument/2006/relationships/image" Target="../media/image22.svg"/><Relationship Id="rId9" Type="http://schemas.openxmlformats.org/officeDocument/2006/relationships/image" Target="../media/image5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5BDA31-665D-43DA-ABCC-109896C6B74A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4130730-FA03-4B32-AE70-2F93640E0C4A}">
      <dgm:prSet phldrT="[Text]"/>
      <dgm:spPr/>
      <dgm:t>
        <a:bodyPr/>
        <a:lstStyle/>
        <a:p>
          <a:r>
            <a:rPr lang="en-GB"/>
            <a:t>Increasing flood exposure</a:t>
          </a:r>
        </a:p>
      </dgm:t>
    </dgm:pt>
    <dgm:pt modelId="{4BFA9949-6586-451C-8E2C-FAAF743314E1}" type="parTrans" cxnId="{B6BB5EA1-D628-4E67-9766-F6B61D07BBDC}">
      <dgm:prSet/>
      <dgm:spPr/>
      <dgm:t>
        <a:bodyPr/>
        <a:lstStyle/>
        <a:p>
          <a:endParaRPr lang="en-GB"/>
        </a:p>
      </dgm:t>
    </dgm:pt>
    <dgm:pt modelId="{AD814B05-2599-4F81-8339-F31DCCA79351}" type="sibTrans" cxnId="{B6BB5EA1-D628-4E67-9766-F6B61D07BBDC}">
      <dgm:prSet custT="1"/>
      <dgm:spPr/>
      <dgm:t>
        <a:bodyPr/>
        <a:lstStyle/>
        <a:p>
          <a:r>
            <a:rPr lang="en-GB" sz="1400" kern="1200">
              <a:solidFill>
                <a:prstClr val="white"/>
              </a:solidFill>
              <a:latin typeface="Arial"/>
              <a:ea typeface="+mn-ea"/>
              <a:cs typeface="+mn-cs"/>
            </a:rPr>
            <a:t>Our climate is changing</a:t>
          </a:r>
        </a:p>
      </dgm:t>
    </dgm:pt>
    <dgm:pt modelId="{3B3667EE-DB9F-4898-BAD5-21EDC7D416C0}">
      <dgm:prSet phldrT="[Text]"/>
      <dgm:spPr/>
      <dgm:t>
        <a:bodyPr/>
        <a:lstStyle/>
        <a:p>
          <a:r>
            <a:rPr lang="en-GB"/>
            <a:t>Not delivering actions fast enough</a:t>
          </a:r>
        </a:p>
      </dgm:t>
    </dgm:pt>
    <dgm:pt modelId="{798DA556-14FC-46EA-8E1E-3C8E265178F3}" type="parTrans" cxnId="{0BF4A2CB-4CEE-46B1-8176-A35619A6451E}">
      <dgm:prSet/>
      <dgm:spPr/>
      <dgm:t>
        <a:bodyPr/>
        <a:lstStyle/>
        <a:p>
          <a:endParaRPr lang="en-GB"/>
        </a:p>
      </dgm:t>
    </dgm:pt>
    <dgm:pt modelId="{8CBA08BE-5805-4241-AA51-24875EF43DE7}" type="sibTrans" cxnId="{0BF4A2CB-4CEE-46B1-8176-A35619A6451E}">
      <dgm:prSet custT="1"/>
      <dgm:spPr/>
      <dgm:t>
        <a:bodyPr/>
        <a:lstStyle/>
        <a:p>
          <a:r>
            <a:rPr lang="en-GB" sz="1400" kern="1200">
              <a:solidFill>
                <a:prstClr val="white"/>
              </a:solidFill>
              <a:latin typeface="Arial"/>
              <a:ea typeface="+mn-ea"/>
              <a:cs typeface="+mn-cs"/>
            </a:rPr>
            <a:t>Limited range of actions</a:t>
          </a:r>
        </a:p>
      </dgm:t>
    </dgm:pt>
    <dgm:pt modelId="{C6B1429A-CB81-4EBE-BA8D-1F2AC44BACB6}">
      <dgm:prSet phldrT="[Text]"/>
      <dgm:spPr/>
      <dgm:t>
        <a:bodyPr/>
        <a:lstStyle/>
        <a:p>
          <a:r>
            <a:rPr lang="en-GB"/>
            <a:t>Increasing challenge for future generations</a:t>
          </a:r>
        </a:p>
      </dgm:t>
    </dgm:pt>
    <dgm:pt modelId="{F7709F62-519C-48D8-99E9-F14425E9B677}" type="parTrans" cxnId="{09AF9441-6379-4148-BD81-2D0EEF77DBA8}">
      <dgm:prSet/>
      <dgm:spPr/>
      <dgm:t>
        <a:bodyPr/>
        <a:lstStyle/>
        <a:p>
          <a:endParaRPr lang="en-GB"/>
        </a:p>
      </dgm:t>
    </dgm:pt>
    <dgm:pt modelId="{C16069EF-BAF6-4AA9-B0FF-85E8B228D8E2}" type="sibTrans" cxnId="{09AF9441-6379-4148-BD81-2D0EEF77DBA8}">
      <dgm:prSet custT="1"/>
      <dgm:spPr/>
      <dgm:t>
        <a:bodyPr/>
        <a:lstStyle/>
        <a:p>
          <a:r>
            <a:rPr lang="en-GB" sz="1400" kern="1200">
              <a:solidFill>
                <a:prstClr val="white"/>
              </a:solidFill>
              <a:latin typeface="Arial"/>
              <a:ea typeface="+mn-ea"/>
              <a:cs typeface="+mn-cs"/>
            </a:rPr>
            <a:t>Limited range of players</a:t>
          </a:r>
        </a:p>
      </dgm:t>
    </dgm:pt>
    <dgm:pt modelId="{99AB8042-BB7D-4467-BB68-6337E683D536}" type="pres">
      <dgm:prSet presAssocID="{4D5BDA31-665D-43DA-ABCC-109896C6B74A}" presName="Name0" presStyleCnt="0">
        <dgm:presLayoutVars>
          <dgm:chMax/>
          <dgm:chPref/>
          <dgm:dir/>
          <dgm:animLvl val="lvl"/>
        </dgm:presLayoutVars>
      </dgm:prSet>
      <dgm:spPr/>
    </dgm:pt>
    <dgm:pt modelId="{D1DFE436-9647-4CFE-86AC-50AD8DD2B922}" type="pres">
      <dgm:prSet presAssocID="{A4130730-FA03-4B32-AE70-2F93640E0C4A}" presName="composite" presStyleCnt="0"/>
      <dgm:spPr/>
    </dgm:pt>
    <dgm:pt modelId="{568AD9D6-BDD4-45D9-B2C4-AD9D352DD6DD}" type="pres">
      <dgm:prSet presAssocID="{A4130730-FA03-4B32-AE70-2F93640E0C4A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</dgm:pt>
    <dgm:pt modelId="{92F3CD8B-1FAE-4A3E-B73C-B0472C4D896F}" type="pres">
      <dgm:prSet presAssocID="{A4130730-FA03-4B32-AE70-2F93640E0C4A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9660073B-6C82-440F-B480-7D4863E74F4B}" type="pres">
      <dgm:prSet presAssocID="{A4130730-FA03-4B32-AE70-2F93640E0C4A}" presName="BalanceSpacing" presStyleCnt="0"/>
      <dgm:spPr/>
    </dgm:pt>
    <dgm:pt modelId="{591175C5-C5DA-4910-80C5-D2BF6EBE89D1}" type="pres">
      <dgm:prSet presAssocID="{A4130730-FA03-4B32-AE70-2F93640E0C4A}" presName="BalanceSpacing1" presStyleCnt="0"/>
      <dgm:spPr/>
    </dgm:pt>
    <dgm:pt modelId="{EA4347AD-37E7-46EE-9E3D-5D27203F0516}" type="pres">
      <dgm:prSet presAssocID="{AD814B05-2599-4F81-8339-F31DCCA79351}" presName="Accent1Text" presStyleLbl="node1" presStyleIdx="1" presStyleCnt="6" custLinFactNeighborY="1682"/>
      <dgm:spPr/>
    </dgm:pt>
    <dgm:pt modelId="{8E747C81-172D-4A02-B2B8-98F229FF56A7}" type="pres">
      <dgm:prSet presAssocID="{AD814B05-2599-4F81-8339-F31DCCA79351}" presName="spaceBetweenRectangles" presStyleCnt="0"/>
      <dgm:spPr/>
    </dgm:pt>
    <dgm:pt modelId="{F43740C6-FD32-4531-9C53-92A926ABF5B1}" type="pres">
      <dgm:prSet presAssocID="{3B3667EE-DB9F-4898-BAD5-21EDC7D416C0}" presName="composite" presStyleCnt="0"/>
      <dgm:spPr/>
    </dgm:pt>
    <dgm:pt modelId="{C042981C-282E-4BB9-8265-FC727FE8CE3D}" type="pres">
      <dgm:prSet presAssocID="{3B3667EE-DB9F-4898-BAD5-21EDC7D416C0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</dgm:pt>
    <dgm:pt modelId="{DC72E124-3037-47AF-B92E-D3ADFFBEDDE0}" type="pres">
      <dgm:prSet presAssocID="{3B3667EE-DB9F-4898-BAD5-21EDC7D416C0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5025D435-7727-431A-9BFC-2305170862FE}" type="pres">
      <dgm:prSet presAssocID="{3B3667EE-DB9F-4898-BAD5-21EDC7D416C0}" presName="BalanceSpacing" presStyleCnt="0"/>
      <dgm:spPr/>
    </dgm:pt>
    <dgm:pt modelId="{8339AE0D-473D-44F4-9134-63631A88F31F}" type="pres">
      <dgm:prSet presAssocID="{3B3667EE-DB9F-4898-BAD5-21EDC7D416C0}" presName="BalanceSpacing1" presStyleCnt="0"/>
      <dgm:spPr/>
    </dgm:pt>
    <dgm:pt modelId="{A7DCBFFE-EDC5-48B0-95A4-AC7F2AA2A8C6}" type="pres">
      <dgm:prSet presAssocID="{8CBA08BE-5805-4241-AA51-24875EF43DE7}" presName="Accent1Text" presStyleLbl="node1" presStyleIdx="3" presStyleCnt="6"/>
      <dgm:spPr/>
    </dgm:pt>
    <dgm:pt modelId="{01845A4F-A4B6-470A-8850-2008A65D13B0}" type="pres">
      <dgm:prSet presAssocID="{8CBA08BE-5805-4241-AA51-24875EF43DE7}" presName="spaceBetweenRectangles" presStyleCnt="0"/>
      <dgm:spPr/>
    </dgm:pt>
    <dgm:pt modelId="{76122567-89E1-4BC2-843B-2CE13C239B2B}" type="pres">
      <dgm:prSet presAssocID="{C6B1429A-CB81-4EBE-BA8D-1F2AC44BACB6}" presName="composite" presStyleCnt="0"/>
      <dgm:spPr/>
    </dgm:pt>
    <dgm:pt modelId="{95417C40-8E92-423C-A8F2-E16ED819D281}" type="pres">
      <dgm:prSet presAssocID="{C6B1429A-CB81-4EBE-BA8D-1F2AC44BACB6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</dgm:pt>
    <dgm:pt modelId="{4C0655B7-7C0D-4CD5-866B-F05F22F06D43}" type="pres">
      <dgm:prSet presAssocID="{C6B1429A-CB81-4EBE-BA8D-1F2AC44BACB6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CA76F0B4-7B75-4415-B22E-CF3A98EDCA24}" type="pres">
      <dgm:prSet presAssocID="{C6B1429A-CB81-4EBE-BA8D-1F2AC44BACB6}" presName="BalanceSpacing" presStyleCnt="0"/>
      <dgm:spPr/>
    </dgm:pt>
    <dgm:pt modelId="{ABE33644-6635-41C3-A156-85963386E3F4}" type="pres">
      <dgm:prSet presAssocID="{C6B1429A-CB81-4EBE-BA8D-1F2AC44BACB6}" presName="BalanceSpacing1" presStyleCnt="0"/>
      <dgm:spPr/>
    </dgm:pt>
    <dgm:pt modelId="{C3C520A7-FEE2-41DC-93A7-649A1ED0611B}" type="pres">
      <dgm:prSet presAssocID="{C16069EF-BAF6-4AA9-B0FF-85E8B228D8E2}" presName="Accent1Text" presStyleLbl="node1" presStyleIdx="5" presStyleCnt="6"/>
      <dgm:spPr/>
    </dgm:pt>
  </dgm:ptLst>
  <dgm:cxnLst>
    <dgm:cxn modelId="{65934A2B-76B8-412D-A123-40AFD0879B94}" type="presOf" srcId="{3B3667EE-DB9F-4898-BAD5-21EDC7D416C0}" destId="{C042981C-282E-4BB9-8265-FC727FE8CE3D}" srcOrd="0" destOrd="0" presId="urn:microsoft.com/office/officeart/2008/layout/AlternatingHexagons"/>
    <dgm:cxn modelId="{09AF9441-6379-4148-BD81-2D0EEF77DBA8}" srcId="{4D5BDA31-665D-43DA-ABCC-109896C6B74A}" destId="{C6B1429A-CB81-4EBE-BA8D-1F2AC44BACB6}" srcOrd="2" destOrd="0" parTransId="{F7709F62-519C-48D8-99E9-F14425E9B677}" sibTransId="{C16069EF-BAF6-4AA9-B0FF-85E8B228D8E2}"/>
    <dgm:cxn modelId="{E132A963-A7C6-47A7-81E6-287AB59EF45B}" type="presOf" srcId="{C6B1429A-CB81-4EBE-BA8D-1F2AC44BACB6}" destId="{95417C40-8E92-423C-A8F2-E16ED819D281}" srcOrd="0" destOrd="0" presId="urn:microsoft.com/office/officeart/2008/layout/AlternatingHexagons"/>
    <dgm:cxn modelId="{5F6ADA75-DDD6-447E-B0BE-12F428E44036}" type="presOf" srcId="{A4130730-FA03-4B32-AE70-2F93640E0C4A}" destId="{568AD9D6-BDD4-45D9-B2C4-AD9D352DD6DD}" srcOrd="0" destOrd="0" presId="urn:microsoft.com/office/officeart/2008/layout/AlternatingHexagons"/>
    <dgm:cxn modelId="{28729895-57E8-4821-8F5A-CA0D07D4FC56}" type="presOf" srcId="{4D5BDA31-665D-43DA-ABCC-109896C6B74A}" destId="{99AB8042-BB7D-4467-BB68-6337E683D536}" srcOrd="0" destOrd="0" presId="urn:microsoft.com/office/officeart/2008/layout/AlternatingHexagons"/>
    <dgm:cxn modelId="{D089C895-1F22-4C03-A59E-E3C43736CB35}" type="presOf" srcId="{AD814B05-2599-4F81-8339-F31DCCA79351}" destId="{EA4347AD-37E7-46EE-9E3D-5D27203F0516}" srcOrd="0" destOrd="0" presId="urn:microsoft.com/office/officeart/2008/layout/AlternatingHexagons"/>
    <dgm:cxn modelId="{B6BB5EA1-D628-4E67-9766-F6B61D07BBDC}" srcId="{4D5BDA31-665D-43DA-ABCC-109896C6B74A}" destId="{A4130730-FA03-4B32-AE70-2F93640E0C4A}" srcOrd="0" destOrd="0" parTransId="{4BFA9949-6586-451C-8E2C-FAAF743314E1}" sibTransId="{AD814B05-2599-4F81-8339-F31DCCA79351}"/>
    <dgm:cxn modelId="{0BF4A2CB-4CEE-46B1-8176-A35619A6451E}" srcId="{4D5BDA31-665D-43DA-ABCC-109896C6B74A}" destId="{3B3667EE-DB9F-4898-BAD5-21EDC7D416C0}" srcOrd="1" destOrd="0" parTransId="{798DA556-14FC-46EA-8E1E-3C8E265178F3}" sibTransId="{8CBA08BE-5805-4241-AA51-24875EF43DE7}"/>
    <dgm:cxn modelId="{D07FE4EA-BFA2-4B77-9416-BDA7238F04D9}" type="presOf" srcId="{8CBA08BE-5805-4241-AA51-24875EF43DE7}" destId="{A7DCBFFE-EDC5-48B0-95A4-AC7F2AA2A8C6}" srcOrd="0" destOrd="0" presId="urn:microsoft.com/office/officeart/2008/layout/AlternatingHexagons"/>
    <dgm:cxn modelId="{B51B6EFB-3AC6-4C74-BD0B-CBBC2AB9F84E}" type="presOf" srcId="{C16069EF-BAF6-4AA9-B0FF-85E8B228D8E2}" destId="{C3C520A7-FEE2-41DC-93A7-649A1ED0611B}" srcOrd="0" destOrd="0" presId="urn:microsoft.com/office/officeart/2008/layout/AlternatingHexagons"/>
    <dgm:cxn modelId="{E1F5CC85-2FBF-498C-84CE-64E982A084BD}" type="presParOf" srcId="{99AB8042-BB7D-4467-BB68-6337E683D536}" destId="{D1DFE436-9647-4CFE-86AC-50AD8DD2B922}" srcOrd="0" destOrd="0" presId="urn:microsoft.com/office/officeart/2008/layout/AlternatingHexagons"/>
    <dgm:cxn modelId="{954F5E81-6BEA-4C9C-A9B4-C567592CD6A3}" type="presParOf" srcId="{D1DFE436-9647-4CFE-86AC-50AD8DD2B922}" destId="{568AD9D6-BDD4-45D9-B2C4-AD9D352DD6DD}" srcOrd="0" destOrd="0" presId="urn:microsoft.com/office/officeart/2008/layout/AlternatingHexagons"/>
    <dgm:cxn modelId="{A7135641-02AD-4175-A782-C303D7BA2DD2}" type="presParOf" srcId="{D1DFE436-9647-4CFE-86AC-50AD8DD2B922}" destId="{92F3CD8B-1FAE-4A3E-B73C-B0472C4D896F}" srcOrd="1" destOrd="0" presId="urn:microsoft.com/office/officeart/2008/layout/AlternatingHexagons"/>
    <dgm:cxn modelId="{034A45C0-45E4-4F5C-BD2E-E617478A3CDB}" type="presParOf" srcId="{D1DFE436-9647-4CFE-86AC-50AD8DD2B922}" destId="{9660073B-6C82-440F-B480-7D4863E74F4B}" srcOrd="2" destOrd="0" presId="urn:microsoft.com/office/officeart/2008/layout/AlternatingHexagons"/>
    <dgm:cxn modelId="{EACF4C17-D92D-4293-8B48-FFA108ED4507}" type="presParOf" srcId="{D1DFE436-9647-4CFE-86AC-50AD8DD2B922}" destId="{591175C5-C5DA-4910-80C5-D2BF6EBE89D1}" srcOrd="3" destOrd="0" presId="urn:microsoft.com/office/officeart/2008/layout/AlternatingHexagons"/>
    <dgm:cxn modelId="{67C0850E-B0C6-4609-BFF4-4507FE5801A3}" type="presParOf" srcId="{D1DFE436-9647-4CFE-86AC-50AD8DD2B922}" destId="{EA4347AD-37E7-46EE-9E3D-5D27203F0516}" srcOrd="4" destOrd="0" presId="urn:microsoft.com/office/officeart/2008/layout/AlternatingHexagons"/>
    <dgm:cxn modelId="{05F75E1F-3B91-412B-8217-EC17BCE4ED4C}" type="presParOf" srcId="{99AB8042-BB7D-4467-BB68-6337E683D536}" destId="{8E747C81-172D-4A02-B2B8-98F229FF56A7}" srcOrd="1" destOrd="0" presId="urn:microsoft.com/office/officeart/2008/layout/AlternatingHexagons"/>
    <dgm:cxn modelId="{21B8708C-0CA2-4484-932B-0030680DCCF0}" type="presParOf" srcId="{99AB8042-BB7D-4467-BB68-6337E683D536}" destId="{F43740C6-FD32-4531-9C53-92A926ABF5B1}" srcOrd="2" destOrd="0" presId="urn:microsoft.com/office/officeart/2008/layout/AlternatingHexagons"/>
    <dgm:cxn modelId="{97481CC8-7583-4165-8F87-44E1D0381A7B}" type="presParOf" srcId="{F43740C6-FD32-4531-9C53-92A926ABF5B1}" destId="{C042981C-282E-4BB9-8265-FC727FE8CE3D}" srcOrd="0" destOrd="0" presId="urn:microsoft.com/office/officeart/2008/layout/AlternatingHexagons"/>
    <dgm:cxn modelId="{EC620EE9-0648-4D00-9065-5ECDB2C82224}" type="presParOf" srcId="{F43740C6-FD32-4531-9C53-92A926ABF5B1}" destId="{DC72E124-3037-47AF-B92E-D3ADFFBEDDE0}" srcOrd="1" destOrd="0" presId="urn:microsoft.com/office/officeart/2008/layout/AlternatingHexagons"/>
    <dgm:cxn modelId="{6583069A-45E1-4985-8F11-B768AF7FCA48}" type="presParOf" srcId="{F43740C6-FD32-4531-9C53-92A926ABF5B1}" destId="{5025D435-7727-431A-9BFC-2305170862FE}" srcOrd="2" destOrd="0" presId="urn:microsoft.com/office/officeart/2008/layout/AlternatingHexagons"/>
    <dgm:cxn modelId="{B7F8835C-77A5-482A-BDFE-D5EF91467707}" type="presParOf" srcId="{F43740C6-FD32-4531-9C53-92A926ABF5B1}" destId="{8339AE0D-473D-44F4-9134-63631A88F31F}" srcOrd="3" destOrd="0" presId="urn:microsoft.com/office/officeart/2008/layout/AlternatingHexagons"/>
    <dgm:cxn modelId="{894B7D73-F7F3-45B5-96FD-1B993D642ED4}" type="presParOf" srcId="{F43740C6-FD32-4531-9C53-92A926ABF5B1}" destId="{A7DCBFFE-EDC5-48B0-95A4-AC7F2AA2A8C6}" srcOrd="4" destOrd="0" presId="urn:microsoft.com/office/officeart/2008/layout/AlternatingHexagons"/>
    <dgm:cxn modelId="{985DE570-0728-46DA-80A9-01248B799AFB}" type="presParOf" srcId="{99AB8042-BB7D-4467-BB68-6337E683D536}" destId="{01845A4F-A4B6-470A-8850-2008A65D13B0}" srcOrd="3" destOrd="0" presId="urn:microsoft.com/office/officeart/2008/layout/AlternatingHexagons"/>
    <dgm:cxn modelId="{7D77B07D-8E52-49FF-8BDE-6632AAD1F39F}" type="presParOf" srcId="{99AB8042-BB7D-4467-BB68-6337E683D536}" destId="{76122567-89E1-4BC2-843B-2CE13C239B2B}" srcOrd="4" destOrd="0" presId="urn:microsoft.com/office/officeart/2008/layout/AlternatingHexagons"/>
    <dgm:cxn modelId="{DEB34C60-D383-4427-8F83-289ED5F137EA}" type="presParOf" srcId="{76122567-89E1-4BC2-843B-2CE13C239B2B}" destId="{95417C40-8E92-423C-A8F2-E16ED819D281}" srcOrd="0" destOrd="0" presId="urn:microsoft.com/office/officeart/2008/layout/AlternatingHexagons"/>
    <dgm:cxn modelId="{4BEB6209-1E0E-46A2-9C0C-C3177E60DAD4}" type="presParOf" srcId="{76122567-89E1-4BC2-843B-2CE13C239B2B}" destId="{4C0655B7-7C0D-4CD5-866B-F05F22F06D43}" srcOrd="1" destOrd="0" presId="urn:microsoft.com/office/officeart/2008/layout/AlternatingHexagons"/>
    <dgm:cxn modelId="{4D079D97-4809-4449-AC96-D12FA967780E}" type="presParOf" srcId="{76122567-89E1-4BC2-843B-2CE13C239B2B}" destId="{CA76F0B4-7B75-4415-B22E-CF3A98EDCA24}" srcOrd="2" destOrd="0" presId="urn:microsoft.com/office/officeart/2008/layout/AlternatingHexagons"/>
    <dgm:cxn modelId="{2CF244B2-53A0-47A1-B0B4-80AD98777710}" type="presParOf" srcId="{76122567-89E1-4BC2-843B-2CE13C239B2B}" destId="{ABE33644-6635-41C3-A156-85963386E3F4}" srcOrd="3" destOrd="0" presId="urn:microsoft.com/office/officeart/2008/layout/AlternatingHexagons"/>
    <dgm:cxn modelId="{95C44437-39F9-4DD3-9752-885B64F744B2}" type="presParOf" srcId="{76122567-89E1-4BC2-843B-2CE13C239B2B}" destId="{C3C520A7-FEE2-41DC-93A7-649A1ED0611B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12576A-B68F-49F7-B084-3284195B835D}" type="doc">
      <dgm:prSet loTypeId="urn:microsoft.com/office/officeart/2005/8/layout/hProcess3" loCatId="process" qsTypeId="urn:microsoft.com/office/officeart/2005/8/quickstyle/simple1" qsCatId="simple" csTypeId="urn:microsoft.com/office/officeart/2005/8/colors/accent1_2" csCatId="accent1" phldr="1"/>
      <dgm:spPr/>
    </dgm:pt>
    <dgm:pt modelId="{DA01FB5D-CC0A-48A9-A6DA-01B0D3940AFE}">
      <dgm:prSet phldrT="[Text]"/>
      <dgm:spPr/>
      <dgm:t>
        <a:bodyPr/>
        <a:lstStyle/>
        <a:p>
          <a:r>
            <a:rPr lang="en-GB"/>
            <a:t>Thinking to 2045 and beyond… </a:t>
          </a:r>
        </a:p>
      </dgm:t>
    </dgm:pt>
    <dgm:pt modelId="{4D204550-28CE-4342-96A5-BD60EC82E001}" type="parTrans" cxnId="{F3E2C151-E2DB-4EFC-8E15-CEFF21A77F22}">
      <dgm:prSet/>
      <dgm:spPr/>
      <dgm:t>
        <a:bodyPr/>
        <a:lstStyle/>
        <a:p>
          <a:endParaRPr lang="en-GB"/>
        </a:p>
      </dgm:t>
    </dgm:pt>
    <dgm:pt modelId="{3EEB7AEA-87BE-4374-B8CE-8D0B141056EB}" type="sibTrans" cxnId="{F3E2C151-E2DB-4EFC-8E15-CEFF21A77F22}">
      <dgm:prSet/>
      <dgm:spPr/>
      <dgm:t>
        <a:bodyPr/>
        <a:lstStyle/>
        <a:p>
          <a:endParaRPr lang="en-GB"/>
        </a:p>
      </dgm:t>
    </dgm:pt>
    <dgm:pt modelId="{85655763-3741-4B4F-8BBA-C956ECF5B60E}">
      <dgm:prSet phldrT="[Text]"/>
      <dgm:spPr/>
      <dgm:t>
        <a:bodyPr/>
        <a:lstStyle/>
        <a:p>
          <a:r>
            <a:rPr lang="en-GB"/>
            <a:t>What needs to change… </a:t>
          </a:r>
        </a:p>
      </dgm:t>
    </dgm:pt>
    <dgm:pt modelId="{E0A8D955-AAB3-488E-B20F-EF6C82307D8B}" type="parTrans" cxnId="{DD29DCC7-13F2-4C46-A64E-6D84BF159FEE}">
      <dgm:prSet/>
      <dgm:spPr/>
      <dgm:t>
        <a:bodyPr/>
        <a:lstStyle/>
        <a:p>
          <a:endParaRPr lang="en-GB"/>
        </a:p>
      </dgm:t>
    </dgm:pt>
    <dgm:pt modelId="{D2046F8B-DEBD-48DB-871B-CA139C97CCCA}" type="sibTrans" cxnId="{DD29DCC7-13F2-4C46-A64E-6D84BF159FEE}">
      <dgm:prSet/>
      <dgm:spPr/>
      <dgm:t>
        <a:bodyPr/>
        <a:lstStyle/>
        <a:p>
          <a:endParaRPr lang="en-GB"/>
        </a:p>
      </dgm:t>
    </dgm:pt>
    <dgm:pt modelId="{AB3A8F3E-3F38-47A0-A6D4-DFD783D22A81}">
      <dgm:prSet phldrT="[Text]"/>
      <dgm:spPr/>
      <dgm:t>
        <a:bodyPr/>
        <a:lstStyle/>
        <a:p>
          <a:r>
            <a:rPr lang="en-GB"/>
            <a:t>Direction setting</a:t>
          </a:r>
        </a:p>
      </dgm:t>
    </dgm:pt>
    <dgm:pt modelId="{4DA413CB-FA49-4234-8242-90F476ADE074}" type="parTrans" cxnId="{5982096F-ECD0-45B3-8791-59495EA05812}">
      <dgm:prSet/>
      <dgm:spPr/>
      <dgm:t>
        <a:bodyPr/>
        <a:lstStyle/>
        <a:p>
          <a:endParaRPr lang="en-GB"/>
        </a:p>
      </dgm:t>
    </dgm:pt>
    <dgm:pt modelId="{2F21C32B-23C7-4ABF-B6AB-1F6E76240B6A}" type="sibTrans" cxnId="{5982096F-ECD0-45B3-8791-59495EA05812}">
      <dgm:prSet/>
      <dgm:spPr/>
      <dgm:t>
        <a:bodyPr/>
        <a:lstStyle/>
        <a:p>
          <a:endParaRPr lang="en-GB"/>
        </a:p>
      </dgm:t>
    </dgm:pt>
    <dgm:pt modelId="{B72B7D0A-5919-41C5-8112-B48B19C369B6}" type="pres">
      <dgm:prSet presAssocID="{7212576A-B68F-49F7-B084-3284195B835D}" presName="Name0" presStyleCnt="0">
        <dgm:presLayoutVars>
          <dgm:dir/>
          <dgm:animLvl val="lvl"/>
          <dgm:resizeHandles val="exact"/>
        </dgm:presLayoutVars>
      </dgm:prSet>
      <dgm:spPr/>
    </dgm:pt>
    <dgm:pt modelId="{93386627-1E30-4E7B-9A59-A49EC4117A91}" type="pres">
      <dgm:prSet presAssocID="{7212576A-B68F-49F7-B084-3284195B835D}" presName="dummy" presStyleCnt="0"/>
      <dgm:spPr/>
    </dgm:pt>
    <dgm:pt modelId="{3D337522-3118-4030-90B8-5FA846A70AAD}" type="pres">
      <dgm:prSet presAssocID="{7212576A-B68F-49F7-B084-3284195B835D}" presName="linH" presStyleCnt="0"/>
      <dgm:spPr/>
    </dgm:pt>
    <dgm:pt modelId="{4F1F363C-2650-4127-8687-C94C82D33AD5}" type="pres">
      <dgm:prSet presAssocID="{7212576A-B68F-49F7-B084-3284195B835D}" presName="padding1" presStyleCnt="0"/>
      <dgm:spPr/>
    </dgm:pt>
    <dgm:pt modelId="{C798EF7D-464D-4263-8BDE-304608B643D5}" type="pres">
      <dgm:prSet presAssocID="{DA01FB5D-CC0A-48A9-A6DA-01B0D3940AFE}" presName="linV" presStyleCnt="0"/>
      <dgm:spPr/>
    </dgm:pt>
    <dgm:pt modelId="{68A041BE-1654-4DEA-9E9F-333BF6CE72CB}" type="pres">
      <dgm:prSet presAssocID="{DA01FB5D-CC0A-48A9-A6DA-01B0D3940AFE}" presName="spVertical1" presStyleCnt="0"/>
      <dgm:spPr/>
    </dgm:pt>
    <dgm:pt modelId="{C5300BD4-FAED-4DE3-AA12-AB95500250AA}" type="pres">
      <dgm:prSet presAssocID="{DA01FB5D-CC0A-48A9-A6DA-01B0D3940AFE}" presName="parTx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525C61AB-ADD7-47D9-8795-91B4B81CC396}" type="pres">
      <dgm:prSet presAssocID="{DA01FB5D-CC0A-48A9-A6DA-01B0D3940AFE}" presName="spVertical2" presStyleCnt="0"/>
      <dgm:spPr/>
    </dgm:pt>
    <dgm:pt modelId="{B963DFF7-65BE-4019-92F3-F7645DD91863}" type="pres">
      <dgm:prSet presAssocID="{DA01FB5D-CC0A-48A9-A6DA-01B0D3940AFE}" presName="spVertical3" presStyleCnt="0"/>
      <dgm:spPr/>
    </dgm:pt>
    <dgm:pt modelId="{B3A48E3F-D921-4506-B8F9-91B59340099F}" type="pres">
      <dgm:prSet presAssocID="{3EEB7AEA-87BE-4374-B8CE-8D0B141056EB}" presName="space" presStyleCnt="0"/>
      <dgm:spPr/>
    </dgm:pt>
    <dgm:pt modelId="{2695AFA8-ED4A-462D-8AFC-0CDC9E7ABF2D}" type="pres">
      <dgm:prSet presAssocID="{85655763-3741-4B4F-8BBA-C956ECF5B60E}" presName="linV" presStyleCnt="0"/>
      <dgm:spPr/>
    </dgm:pt>
    <dgm:pt modelId="{DD64D0F7-581F-433F-AE97-3C3B3B38287B}" type="pres">
      <dgm:prSet presAssocID="{85655763-3741-4B4F-8BBA-C956ECF5B60E}" presName="spVertical1" presStyleCnt="0"/>
      <dgm:spPr/>
    </dgm:pt>
    <dgm:pt modelId="{4B678D8A-3D05-439D-9A08-D5780D6D233E}" type="pres">
      <dgm:prSet presAssocID="{85655763-3741-4B4F-8BBA-C956ECF5B60E}" presName="parTx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2E3B563D-5EA1-4113-921C-ADA3FCAFB565}" type="pres">
      <dgm:prSet presAssocID="{85655763-3741-4B4F-8BBA-C956ECF5B60E}" presName="spVertical2" presStyleCnt="0"/>
      <dgm:spPr/>
    </dgm:pt>
    <dgm:pt modelId="{9A0F948B-2759-43C1-962B-909C73629BF3}" type="pres">
      <dgm:prSet presAssocID="{85655763-3741-4B4F-8BBA-C956ECF5B60E}" presName="spVertical3" presStyleCnt="0"/>
      <dgm:spPr/>
    </dgm:pt>
    <dgm:pt modelId="{9280A7E8-A6D9-4D5B-8763-9E2DD3F8F740}" type="pres">
      <dgm:prSet presAssocID="{D2046F8B-DEBD-48DB-871B-CA139C97CCCA}" presName="space" presStyleCnt="0"/>
      <dgm:spPr/>
    </dgm:pt>
    <dgm:pt modelId="{917F8A41-387C-42CA-A3E0-3CAC334920D6}" type="pres">
      <dgm:prSet presAssocID="{AB3A8F3E-3F38-47A0-A6D4-DFD783D22A81}" presName="linV" presStyleCnt="0"/>
      <dgm:spPr/>
    </dgm:pt>
    <dgm:pt modelId="{1CBE83EE-5CF9-42A9-B1F6-93B23CAAB947}" type="pres">
      <dgm:prSet presAssocID="{AB3A8F3E-3F38-47A0-A6D4-DFD783D22A81}" presName="spVertical1" presStyleCnt="0"/>
      <dgm:spPr/>
    </dgm:pt>
    <dgm:pt modelId="{F6314726-0280-45BF-BB63-C4212E122081}" type="pres">
      <dgm:prSet presAssocID="{AB3A8F3E-3F38-47A0-A6D4-DFD783D22A81}" presName="parTx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47382742-37E9-4B58-886F-C62F72CADEEC}" type="pres">
      <dgm:prSet presAssocID="{AB3A8F3E-3F38-47A0-A6D4-DFD783D22A81}" presName="spVertical2" presStyleCnt="0"/>
      <dgm:spPr/>
    </dgm:pt>
    <dgm:pt modelId="{08C422B3-1CAD-4ED8-9ED7-B8800696375A}" type="pres">
      <dgm:prSet presAssocID="{AB3A8F3E-3F38-47A0-A6D4-DFD783D22A81}" presName="spVertical3" presStyleCnt="0"/>
      <dgm:spPr/>
    </dgm:pt>
    <dgm:pt modelId="{5425FC34-BB14-427F-9180-90FD81EEFC10}" type="pres">
      <dgm:prSet presAssocID="{7212576A-B68F-49F7-B084-3284195B835D}" presName="padding2" presStyleCnt="0"/>
      <dgm:spPr/>
    </dgm:pt>
    <dgm:pt modelId="{75D17135-3AA9-43B0-A06A-1F764EEEDE68}" type="pres">
      <dgm:prSet presAssocID="{7212576A-B68F-49F7-B084-3284195B835D}" presName="negArrow" presStyleCnt="0"/>
      <dgm:spPr/>
    </dgm:pt>
    <dgm:pt modelId="{BF3C89B2-FC34-4107-A652-DBD5F118B954}" type="pres">
      <dgm:prSet presAssocID="{7212576A-B68F-49F7-B084-3284195B835D}" presName="backgroundArrow" presStyleLbl="node1" presStyleIdx="0" presStyleCnt="1"/>
      <dgm:spPr/>
    </dgm:pt>
  </dgm:ptLst>
  <dgm:cxnLst>
    <dgm:cxn modelId="{960E5736-EE09-4235-BC2F-D540783FB94C}" type="presOf" srcId="{85655763-3741-4B4F-8BBA-C956ECF5B60E}" destId="{4B678D8A-3D05-439D-9A08-D5780D6D233E}" srcOrd="0" destOrd="0" presId="urn:microsoft.com/office/officeart/2005/8/layout/hProcess3"/>
    <dgm:cxn modelId="{5982096F-ECD0-45B3-8791-59495EA05812}" srcId="{7212576A-B68F-49F7-B084-3284195B835D}" destId="{AB3A8F3E-3F38-47A0-A6D4-DFD783D22A81}" srcOrd="2" destOrd="0" parTransId="{4DA413CB-FA49-4234-8242-90F476ADE074}" sibTransId="{2F21C32B-23C7-4ABF-B6AB-1F6E76240B6A}"/>
    <dgm:cxn modelId="{F3E2C151-E2DB-4EFC-8E15-CEFF21A77F22}" srcId="{7212576A-B68F-49F7-B084-3284195B835D}" destId="{DA01FB5D-CC0A-48A9-A6DA-01B0D3940AFE}" srcOrd="0" destOrd="0" parTransId="{4D204550-28CE-4342-96A5-BD60EC82E001}" sibTransId="{3EEB7AEA-87BE-4374-B8CE-8D0B141056EB}"/>
    <dgm:cxn modelId="{A39CF354-EC07-4C77-8807-C8E83C37E639}" type="presOf" srcId="{DA01FB5D-CC0A-48A9-A6DA-01B0D3940AFE}" destId="{C5300BD4-FAED-4DE3-AA12-AB95500250AA}" srcOrd="0" destOrd="0" presId="urn:microsoft.com/office/officeart/2005/8/layout/hProcess3"/>
    <dgm:cxn modelId="{DD29DCC7-13F2-4C46-A64E-6D84BF159FEE}" srcId="{7212576A-B68F-49F7-B084-3284195B835D}" destId="{85655763-3741-4B4F-8BBA-C956ECF5B60E}" srcOrd="1" destOrd="0" parTransId="{E0A8D955-AAB3-488E-B20F-EF6C82307D8B}" sibTransId="{D2046F8B-DEBD-48DB-871B-CA139C97CCCA}"/>
    <dgm:cxn modelId="{2ACEAAD3-566D-4121-A286-97A9F2EB7299}" type="presOf" srcId="{AB3A8F3E-3F38-47A0-A6D4-DFD783D22A81}" destId="{F6314726-0280-45BF-BB63-C4212E122081}" srcOrd="0" destOrd="0" presId="urn:microsoft.com/office/officeart/2005/8/layout/hProcess3"/>
    <dgm:cxn modelId="{A82B7EDB-0598-4838-8475-ACB2B2B0A48C}" type="presOf" srcId="{7212576A-B68F-49F7-B084-3284195B835D}" destId="{B72B7D0A-5919-41C5-8112-B48B19C369B6}" srcOrd="0" destOrd="0" presId="urn:microsoft.com/office/officeart/2005/8/layout/hProcess3"/>
    <dgm:cxn modelId="{E073AC54-9F5B-4267-926D-198B456FD307}" type="presParOf" srcId="{B72B7D0A-5919-41C5-8112-B48B19C369B6}" destId="{93386627-1E30-4E7B-9A59-A49EC4117A91}" srcOrd="0" destOrd="0" presId="urn:microsoft.com/office/officeart/2005/8/layout/hProcess3"/>
    <dgm:cxn modelId="{5360C89F-6272-4515-A0A3-368407C459A4}" type="presParOf" srcId="{B72B7D0A-5919-41C5-8112-B48B19C369B6}" destId="{3D337522-3118-4030-90B8-5FA846A70AAD}" srcOrd="1" destOrd="0" presId="urn:microsoft.com/office/officeart/2005/8/layout/hProcess3"/>
    <dgm:cxn modelId="{7AE2B278-B5A6-4E97-B594-D63629E14DED}" type="presParOf" srcId="{3D337522-3118-4030-90B8-5FA846A70AAD}" destId="{4F1F363C-2650-4127-8687-C94C82D33AD5}" srcOrd="0" destOrd="0" presId="urn:microsoft.com/office/officeart/2005/8/layout/hProcess3"/>
    <dgm:cxn modelId="{43A25601-4BF7-40C5-BFC3-4A0C7FFA0C78}" type="presParOf" srcId="{3D337522-3118-4030-90B8-5FA846A70AAD}" destId="{C798EF7D-464D-4263-8BDE-304608B643D5}" srcOrd="1" destOrd="0" presId="urn:microsoft.com/office/officeart/2005/8/layout/hProcess3"/>
    <dgm:cxn modelId="{8A091CD0-EFC8-47EB-A39E-E9531D871140}" type="presParOf" srcId="{C798EF7D-464D-4263-8BDE-304608B643D5}" destId="{68A041BE-1654-4DEA-9E9F-333BF6CE72CB}" srcOrd="0" destOrd="0" presId="urn:microsoft.com/office/officeart/2005/8/layout/hProcess3"/>
    <dgm:cxn modelId="{06E2F6D6-7061-4C6E-988C-92426725B0AD}" type="presParOf" srcId="{C798EF7D-464D-4263-8BDE-304608B643D5}" destId="{C5300BD4-FAED-4DE3-AA12-AB95500250AA}" srcOrd="1" destOrd="0" presId="urn:microsoft.com/office/officeart/2005/8/layout/hProcess3"/>
    <dgm:cxn modelId="{C1340D43-D60C-4A80-84AB-4B6E324FD7C8}" type="presParOf" srcId="{C798EF7D-464D-4263-8BDE-304608B643D5}" destId="{525C61AB-ADD7-47D9-8795-91B4B81CC396}" srcOrd="2" destOrd="0" presId="urn:microsoft.com/office/officeart/2005/8/layout/hProcess3"/>
    <dgm:cxn modelId="{55F11B4B-E562-462F-88A8-B0339D24841E}" type="presParOf" srcId="{C798EF7D-464D-4263-8BDE-304608B643D5}" destId="{B963DFF7-65BE-4019-92F3-F7645DD91863}" srcOrd="3" destOrd="0" presId="urn:microsoft.com/office/officeart/2005/8/layout/hProcess3"/>
    <dgm:cxn modelId="{EE25E3B8-00FF-46FD-8E5B-D3C28572C4C1}" type="presParOf" srcId="{3D337522-3118-4030-90B8-5FA846A70AAD}" destId="{B3A48E3F-D921-4506-B8F9-91B59340099F}" srcOrd="2" destOrd="0" presId="urn:microsoft.com/office/officeart/2005/8/layout/hProcess3"/>
    <dgm:cxn modelId="{C3A6E8C4-D4C3-4B84-96AE-B0B64951C920}" type="presParOf" srcId="{3D337522-3118-4030-90B8-5FA846A70AAD}" destId="{2695AFA8-ED4A-462D-8AFC-0CDC9E7ABF2D}" srcOrd="3" destOrd="0" presId="urn:microsoft.com/office/officeart/2005/8/layout/hProcess3"/>
    <dgm:cxn modelId="{E7216745-AC20-47E1-B104-1E20A564FFA3}" type="presParOf" srcId="{2695AFA8-ED4A-462D-8AFC-0CDC9E7ABF2D}" destId="{DD64D0F7-581F-433F-AE97-3C3B3B38287B}" srcOrd="0" destOrd="0" presId="urn:microsoft.com/office/officeart/2005/8/layout/hProcess3"/>
    <dgm:cxn modelId="{3C5677F2-35BE-4B61-BD17-5CA44D7E4909}" type="presParOf" srcId="{2695AFA8-ED4A-462D-8AFC-0CDC9E7ABF2D}" destId="{4B678D8A-3D05-439D-9A08-D5780D6D233E}" srcOrd="1" destOrd="0" presId="urn:microsoft.com/office/officeart/2005/8/layout/hProcess3"/>
    <dgm:cxn modelId="{D623CFFC-68FA-4935-AF14-EC7D19F3D8E7}" type="presParOf" srcId="{2695AFA8-ED4A-462D-8AFC-0CDC9E7ABF2D}" destId="{2E3B563D-5EA1-4113-921C-ADA3FCAFB565}" srcOrd="2" destOrd="0" presId="urn:microsoft.com/office/officeart/2005/8/layout/hProcess3"/>
    <dgm:cxn modelId="{1DE92E67-080B-442D-94A7-BCD2636AB2D0}" type="presParOf" srcId="{2695AFA8-ED4A-462D-8AFC-0CDC9E7ABF2D}" destId="{9A0F948B-2759-43C1-962B-909C73629BF3}" srcOrd="3" destOrd="0" presId="urn:microsoft.com/office/officeart/2005/8/layout/hProcess3"/>
    <dgm:cxn modelId="{9CD094A6-D2A9-416C-8C7C-88CD345519BF}" type="presParOf" srcId="{3D337522-3118-4030-90B8-5FA846A70AAD}" destId="{9280A7E8-A6D9-4D5B-8763-9E2DD3F8F740}" srcOrd="4" destOrd="0" presId="urn:microsoft.com/office/officeart/2005/8/layout/hProcess3"/>
    <dgm:cxn modelId="{A6F217B8-7D41-4A95-84E7-DE1B0C0CF6B8}" type="presParOf" srcId="{3D337522-3118-4030-90B8-5FA846A70AAD}" destId="{917F8A41-387C-42CA-A3E0-3CAC334920D6}" srcOrd="5" destOrd="0" presId="urn:microsoft.com/office/officeart/2005/8/layout/hProcess3"/>
    <dgm:cxn modelId="{78125493-DE9A-41FA-9B67-B14875BE75A3}" type="presParOf" srcId="{917F8A41-387C-42CA-A3E0-3CAC334920D6}" destId="{1CBE83EE-5CF9-42A9-B1F6-93B23CAAB947}" srcOrd="0" destOrd="0" presId="urn:microsoft.com/office/officeart/2005/8/layout/hProcess3"/>
    <dgm:cxn modelId="{B0495CCE-4613-4302-8434-4EEDAC07F51F}" type="presParOf" srcId="{917F8A41-387C-42CA-A3E0-3CAC334920D6}" destId="{F6314726-0280-45BF-BB63-C4212E122081}" srcOrd="1" destOrd="0" presId="urn:microsoft.com/office/officeart/2005/8/layout/hProcess3"/>
    <dgm:cxn modelId="{DA643EEC-AD33-4AB6-BECD-4D4B9ED4B9C9}" type="presParOf" srcId="{917F8A41-387C-42CA-A3E0-3CAC334920D6}" destId="{47382742-37E9-4B58-886F-C62F72CADEEC}" srcOrd="2" destOrd="0" presId="urn:microsoft.com/office/officeart/2005/8/layout/hProcess3"/>
    <dgm:cxn modelId="{3B9FE148-F557-4F32-A215-5A9F0AD115D1}" type="presParOf" srcId="{917F8A41-387C-42CA-A3E0-3CAC334920D6}" destId="{08C422B3-1CAD-4ED8-9ED7-B8800696375A}" srcOrd="3" destOrd="0" presId="urn:microsoft.com/office/officeart/2005/8/layout/hProcess3"/>
    <dgm:cxn modelId="{2B1C6C5D-35AF-4FAA-9C6C-7FDC813A2D8C}" type="presParOf" srcId="{3D337522-3118-4030-90B8-5FA846A70AAD}" destId="{5425FC34-BB14-427F-9180-90FD81EEFC10}" srcOrd="6" destOrd="0" presId="urn:microsoft.com/office/officeart/2005/8/layout/hProcess3"/>
    <dgm:cxn modelId="{4FCF6B27-F118-4F84-886B-A63B5388F6CB}" type="presParOf" srcId="{3D337522-3118-4030-90B8-5FA846A70AAD}" destId="{75D17135-3AA9-43B0-A06A-1F764EEEDE68}" srcOrd="7" destOrd="0" presId="urn:microsoft.com/office/officeart/2005/8/layout/hProcess3"/>
    <dgm:cxn modelId="{89F00CDE-C685-4B59-BA5D-CF5D242C07F8}" type="presParOf" srcId="{3D337522-3118-4030-90B8-5FA846A70AAD}" destId="{BF3C89B2-FC34-4107-A652-DBD5F118B954}" srcOrd="8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AD7CBBF-34A4-49E5-8708-08E526B90932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EA023B64-BC55-41FF-9899-CD1E23D107F3}">
      <dgm:prSet/>
      <dgm:spPr/>
      <dgm:t>
        <a:bodyPr/>
        <a:lstStyle/>
        <a:p>
          <a:r>
            <a:rPr lang="en-GB"/>
            <a:t>To change our approach from “fixing flooding problems” to creating flood resilient places</a:t>
          </a:r>
          <a:endParaRPr lang="en-US"/>
        </a:p>
      </dgm:t>
    </dgm:pt>
    <dgm:pt modelId="{6F4F51FC-D8A6-4974-A775-2DC65D151784}" type="parTrans" cxnId="{BCACA221-4C3F-4DD8-A482-8532D6556C77}">
      <dgm:prSet/>
      <dgm:spPr/>
      <dgm:t>
        <a:bodyPr/>
        <a:lstStyle/>
        <a:p>
          <a:endParaRPr lang="en-US"/>
        </a:p>
      </dgm:t>
    </dgm:pt>
    <dgm:pt modelId="{F8E95350-86ED-4281-8D37-DDF5F2877A52}" type="sibTrans" cxnId="{BCACA221-4C3F-4DD8-A482-8532D6556C77}">
      <dgm:prSet/>
      <dgm:spPr/>
      <dgm:t>
        <a:bodyPr/>
        <a:lstStyle/>
        <a:p>
          <a:endParaRPr lang="en-US"/>
        </a:p>
      </dgm:t>
    </dgm:pt>
    <dgm:pt modelId="{C5595E29-AFB3-4D26-80C7-0B74288DEF4E}">
      <dgm:prSet/>
      <dgm:spPr/>
      <dgm:t>
        <a:bodyPr/>
        <a:lstStyle/>
        <a:p>
          <a:r>
            <a:rPr lang="en-GB" b="0" i="0"/>
            <a:t>To lay-out the principles we must follow to improve flood resilience in the period ahead</a:t>
          </a:r>
          <a:endParaRPr lang="en-US"/>
        </a:p>
      </dgm:t>
    </dgm:pt>
    <dgm:pt modelId="{EFF08BA2-110A-4214-8A72-3E14FB66DCC0}" type="parTrans" cxnId="{14E77695-EB68-48E7-BAAA-B5E2BCA92A6F}">
      <dgm:prSet/>
      <dgm:spPr/>
      <dgm:t>
        <a:bodyPr/>
        <a:lstStyle/>
        <a:p>
          <a:endParaRPr lang="en-US"/>
        </a:p>
      </dgm:t>
    </dgm:pt>
    <dgm:pt modelId="{891273E9-9CE4-4775-A13A-71135EB2B393}" type="sibTrans" cxnId="{14E77695-EB68-48E7-BAAA-B5E2BCA92A6F}">
      <dgm:prSet/>
      <dgm:spPr/>
      <dgm:t>
        <a:bodyPr/>
        <a:lstStyle/>
        <a:p>
          <a:endParaRPr lang="en-US"/>
        </a:p>
      </dgm:t>
    </dgm:pt>
    <dgm:pt modelId="{2A35DE86-74F8-40F8-AAA6-B496A31A43A7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GB"/>
            <a:t>To set out the strategic level changes that we need to make</a:t>
          </a:r>
          <a:endParaRPr lang="en-US"/>
        </a:p>
      </dgm:t>
    </dgm:pt>
    <dgm:pt modelId="{B391586D-A258-413F-86C1-86C2E3E282D6}" type="parTrans" cxnId="{36B5FE04-DA59-455D-AFE4-CD53458F19DE}">
      <dgm:prSet/>
      <dgm:spPr/>
      <dgm:t>
        <a:bodyPr/>
        <a:lstStyle/>
        <a:p>
          <a:endParaRPr lang="en-US"/>
        </a:p>
      </dgm:t>
    </dgm:pt>
    <dgm:pt modelId="{3564050B-A8CD-421E-B321-37EDBC33AB64}" type="sibTrans" cxnId="{36B5FE04-DA59-455D-AFE4-CD53458F19DE}">
      <dgm:prSet/>
      <dgm:spPr/>
      <dgm:t>
        <a:bodyPr/>
        <a:lstStyle/>
        <a:p>
          <a:endParaRPr lang="en-US"/>
        </a:p>
      </dgm:t>
    </dgm:pt>
    <dgm:pt modelId="{C501AB14-ECD6-454E-85B9-549179D8A811}" type="pres">
      <dgm:prSet presAssocID="{EAD7CBBF-34A4-49E5-8708-08E526B90932}" presName="root" presStyleCnt="0">
        <dgm:presLayoutVars>
          <dgm:dir/>
          <dgm:resizeHandles val="exact"/>
        </dgm:presLayoutVars>
      </dgm:prSet>
      <dgm:spPr/>
    </dgm:pt>
    <dgm:pt modelId="{2D196D95-82DC-4364-BBEC-3B52B97498B7}" type="pres">
      <dgm:prSet presAssocID="{EA023B64-BC55-41FF-9899-CD1E23D107F3}" presName="compNode" presStyleCnt="0"/>
      <dgm:spPr/>
    </dgm:pt>
    <dgm:pt modelId="{B1EA747C-F2DA-43E1-8084-CF8AA956BAE7}" type="pres">
      <dgm:prSet presAssocID="{EA023B64-BC55-41FF-9899-CD1E23D107F3}" presName="bgRect" presStyleLbl="bgShp" presStyleIdx="0" presStyleCnt="3"/>
      <dgm:spPr>
        <a:solidFill>
          <a:schemeClr val="accent1">
            <a:lumMod val="60000"/>
            <a:lumOff val="40000"/>
          </a:schemeClr>
        </a:solidFill>
      </dgm:spPr>
    </dgm:pt>
    <dgm:pt modelId="{A6DE4FE3-7B60-4478-89DA-CEFB400338F2}" type="pres">
      <dgm:prSet presAssocID="{EA023B64-BC55-41FF-9899-CD1E23D107F3}" presName="iconRect" presStyleLbl="node1" presStyleIdx="0" presStyleCnt="3"/>
      <dgm:spPr>
        <a:noFill/>
        <a:ln>
          <a:noFill/>
        </a:ln>
      </dgm:spPr>
    </dgm:pt>
    <dgm:pt modelId="{2066BAB0-CEF4-4C7B-930E-805E7EC1627A}" type="pres">
      <dgm:prSet presAssocID="{EA023B64-BC55-41FF-9899-CD1E23D107F3}" presName="spaceRect" presStyleCnt="0"/>
      <dgm:spPr/>
    </dgm:pt>
    <dgm:pt modelId="{D4B2A2CD-8B28-4205-B37D-CDCDFA27E4F5}" type="pres">
      <dgm:prSet presAssocID="{EA023B64-BC55-41FF-9899-CD1E23D107F3}" presName="parTx" presStyleLbl="revTx" presStyleIdx="0" presStyleCnt="3">
        <dgm:presLayoutVars>
          <dgm:chMax val="0"/>
          <dgm:chPref val="0"/>
        </dgm:presLayoutVars>
      </dgm:prSet>
      <dgm:spPr/>
    </dgm:pt>
    <dgm:pt modelId="{ABF8C846-14A7-4AFB-BEAB-C6FEC815D6B7}" type="pres">
      <dgm:prSet presAssocID="{F8E95350-86ED-4281-8D37-DDF5F2877A52}" presName="sibTrans" presStyleCnt="0"/>
      <dgm:spPr/>
    </dgm:pt>
    <dgm:pt modelId="{B47752F1-400D-4220-8CCE-14F23FC7D49D}" type="pres">
      <dgm:prSet presAssocID="{C5595E29-AFB3-4D26-80C7-0B74288DEF4E}" presName="compNode" presStyleCnt="0"/>
      <dgm:spPr/>
    </dgm:pt>
    <dgm:pt modelId="{672C1EDA-B44C-44E8-A6A8-740A3340D6ED}" type="pres">
      <dgm:prSet presAssocID="{C5595E29-AFB3-4D26-80C7-0B74288DEF4E}" presName="bgRect" presStyleLbl="bgShp" presStyleIdx="1" presStyleCnt="3"/>
      <dgm:spPr>
        <a:solidFill>
          <a:schemeClr val="accent1">
            <a:lumMod val="60000"/>
            <a:lumOff val="40000"/>
          </a:schemeClr>
        </a:solidFill>
      </dgm:spPr>
    </dgm:pt>
    <dgm:pt modelId="{9CA9BC42-1401-4981-A2F2-C1882C012F56}" type="pres">
      <dgm:prSet presAssocID="{C5595E29-AFB3-4D26-80C7-0B74288DEF4E}" presName="iconRect" presStyleLbl="node1" presStyleIdx="1" presStyleCnt="3"/>
      <dgm:spPr>
        <a:noFill/>
        <a:ln>
          <a:noFill/>
        </a:ln>
      </dgm:spPr>
    </dgm:pt>
    <dgm:pt modelId="{51CEE825-7B9A-483A-A2C2-4DFFDBAAD8D0}" type="pres">
      <dgm:prSet presAssocID="{C5595E29-AFB3-4D26-80C7-0B74288DEF4E}" presName="spaceRect" presStyleCnt="0"/>
      <dgm:spPr/>
    </dgm:pt>
    <dgm:pt modelId="{2FCA336E-3BA5-47DE-B546-DB3455267E51}" type="pres">
      <dgm:prSet presAssocID="{C5595E29-AFB3-4D26-80C7-0B74288DEF4E}" presName="parTx" presStyleLbl="revTx" presStyleIdx="1" presStyleCnt="3">
        <dgm:presLayoutVars>
          <dgm:chMax val="0"/>
          <dgm:chPref val="0"/>
        </dgm:presLayoutVars>
      </dgm:prSet>
      <dgm:spPr/>
    </dgm:pt>
    <dgm:pt modelId="{897EB76C-D0CF-4551-9169-4D758D1B1953}" type="pres">
      <dgm:prSet presAssocID="{891273E9-9CE4-4775-A13A-71135EB2B393}" presName="sibTrans" presStyleCnt="0"/>
      <dgm:spPr/>
    </dgm:pt>
    <dgm:pt modelId="{C04082C5-35BE-469B-9A2E-45117F347ADA}" type="pres">
      <dgm:prSet presAssocID="{2A35DE86-74F8-40F8-AAA6-B496A31A43A7}" presName="compNode" presStyleCnt="0"/>
      <dgm:spPr/>
    </dgm:pt>
    <dgm:pt modelId="{0EBC8F8D-C63A-4A95-AA9C-EC4E99A2EE25}" type="pres">
      <dgm:prSet presAssocID="{2A35DE86-74F8-40F8-AAA6-B496A31A43A7}" presName="bgRect" presStyleLbl="bgShp" presStyleIdx="2" presStyleCnt="3" custLinFactNeighborX="112" custLinFactNeighborY="-2669"/>
      <dgm:spPr>
        <a:solidFill>
          <a:schemeClr val="accent1">
            <a:lumMod val="60000"/>
            <a:lumOff val="40000"/>
          </a:schemeClr>
        </a:solidFill>
      </dgm:spPr>
    </dgm:pt>
    <dgm:pt modelId="{E7E9F281-42E3-4E4B-A22E-3883AB2FD0B7}" type="pres">
      <dgm:prSet presAssocID="{2A35DE86-74F8-40F8-AAA6-B496A31A43A7}" presName="iconRect" presStyleLbl="node1" presStyleIdx="2" presStyleCnt="3"/>
      <dgm:spPr>
        <a:noFill/>
        <a:ln>
          <a:noFill/>
        </a:ln>
      </dgm:spPr>
    </dgm:pt>
    <dgm:pt modelId="{B624823F-7B92-402E-8B0E-1608BAC35D64}" type="pres">
      <dgm:prSet presAssocID="{2A35DE86-74F8-40F8-AAA6-B496A31A43A7}" presName="spaceRect" presStyleCnt="0"/>
      <dgm:spPr/>
    </dgm:pt>
    <dgm:pt modelId="{26E8AB6C-4910-4D89-BF5B-6DEE4CAEE976}" type="pres">
      <dgm:prSet presAssocID="{2A35DE86-74F8-40F8-AAA6-B496A31A43A7}" presName="parTx" presStyleLbl="revTx" presStyleIdx="2" presStyleCnt="3" custLinFactNeighborX="-1179" custLinFactNeighborY="-1779">
        <dgm:presLayoutVars>
          <dgm:chMax val="0"/>
          <dgm:chPref val="0"/>
        </dgm:presLayoutVars>
      </dgm:prSet>
      <dgm:spPr/>
    </dgm:pt>
  </dgm:ptLst>
  <dgm:cxnLst>
    <dgm:cxn modelId="{36B5FE04-DA59-455D-AFE4-CD53458F19DE}" srcId="{EAD7CBBF-34A4-49E5-8708-08E526B90932}" destId="{2A35DE86-74F8-40F8-AAA6-B496A31A43A7}" srcOrd="2" destOrd="0" parTransId="{B391586D-A258-413F-86C1-86C2E3E282D6}" sibTransId="{3564050B-A8CD-421E-B321-37EDBC33AB64}"/>
    <dgm:cxn modelId="{BCACA221-4C3F-4DD8-A482-8532D6556C77}" srcId="{EAD7CBBF-34A4-49E5-8708-08E526B90932}" destId="{EA023B64-BC55-41FF-9899-CD1E23D107F3}" srcOrd="0" destOrd="0" parTransId="{6F4F51FC-D8A6-4974-A775-2DC65D151784}" sibTransId="{F8E95350-86ED-4281-8D37-DDF5F2877A52}"/>
    <dgm:cxn modelId="{96CC6835-B74C-4D89-89AF-B92818645592}" type="presOf" srcId="{C5595E29-AFB3-4D26-80C7-0B74288DEF4E}" destId="{2FCA336E-3BA5-47DE-B546-DB3455267E51}" srcOrd="0" destOrd="0" presId="urn:microsoft.com/office/officeart/2018/2/layout/IconVerticalSolidList"/>
    <dgm:cxn modelId="{45C60384-B3F5-4276-A8B1-937DAF02DE41}" type="presOf" srcId="{EAD7CBBF-34A4-49E5-8708-08E526B90932}" destId="{C501AB14-ECD6-454E-85B9-549179D8A811}" srcOrd="0" destOrd="0" presId="urn:microsoft.com/office/officeart/2018/2/layout/IconVerticalSolidList"/>
    <dgm:cxn modelId="{14E77695-EB68-48E7-BAAA-B5E2BCA92A6F}" srcId="{EAD7CBBF-34A4-49E5-8708-08E526B90932}" destId="{C5595E29-AFB3-4D26-80C7-0B74288DEF4E}" srcOrd="1" destOrd="0" parTransId="{EFF08BA2-110A-4214-8A72-3E14FB66DCC0}" sibTransId="{891273E9-9CE4-4775-A13A-71135EB2B393}"/>
    <dgm:cxn modelId="{3EDDF3A1-739B-4126-87B7-0196B7A85D8B}" type="presOf" srcId="{2A35DE86-74F8-40F8-AAA6-B496A31A43A7}" destId="{26E8AB6C-4910-4D89-BF5B-6DEE4CAEE976}" srcOrd="0" destOrd="0" presId="urn:microsoft.com/office/officeart/2018/2/layout/IconVerticalSolidList"/>
    <dgm:cxn modelId="{DAFF62A6-0765-447F-A9ED-CFEF6FCC9D8D}" type="presOf" srcId="{EA023B64-BC55-41FF-9899-CD1E23D107F3}" destId="{D4B2A2CD-8B28-4205-B37D-CDCDFA27E4F5}" srcOrd="0" destOrd="0" presId="urn:microsoft.com/office/officeart/2018/2/layout/IconVerticalSolidList"/>
    <dgm:cxn modelId="{757CCB7E-BE95-47FB-AB3E-6227D40D6871}" type="presParOf" srcId="{C501AB14-ECD6-454E-85B9-549179D8A811}" destId="{2D196D95-82DC-4364-BBEC-3B52B97498B7}" srcOrd="0" destOrd="0" presId="urn:microsoft.com/office/officeart/2018/2/layout/IconVerticalSolidList"/>
    <dgm:cxn modelId="{750B1112-8F62-4C1F-9E6D-72114C37E03C}" type="presParOf" srcId="{2D196D95-82DC-4364-BBEC-3B52B97498B7}" destId="{B1EA747C-F2DA-43E1-8084-CF8AA956BAE7}" srcOrd="0" destOrd="0" presId="urn:microsoft.com/office/officeart/2018/2/layout/IconVerticalSolidList"/>
    <dgm:cxn modelId="{AF7AAD74-22D4-49F0-A754-9E1D485BB096}" type="presParOf" srcId="{2D196D95-82DC-4364-BBEC-3B52B97498B7}" destId="{A6DE4FE3-7B60-4478-89DA-CEFB400338F2}" srcOrd="1" destOrd="0" presId="urn:microsoft.com/office/officeart/2018/2/layout/IconVerticalSolidList"/>
    <dgm:cxn modelId="{672BC38A-489F-46EA-81DB-00AC1CE83CB8}" type="presParOf" srcId="{2D196D95-82DC-4364-BBEC-3B52B97498B7}" destId="{2066BAB0-CEF4-4C7B-930E-805E7EC1627A}" srcOrd="2" destOrd="0" presId="urn:microsoft.com/office/officeart/2018/2/layout/IconVerticalSolidList"/>
    <dgm:cxn modelId="{0320C687-F455-45D5-B07F-6C138866EDF5}" type="presParOf" srcId="{2D196D95-82DC-4364-BBEC-3B52B97498B7}" destId="{D4B2A2CD-8B28-4205-B37D-CDCDFA27E4F5}" srcOrd="3" destOrd="0" presId="urn:microsoft.com/office/officeart/2018/2/layout/IconVerticalSolidList"/>
    <dgm:cxn modelId="{5C409642-7131-4517-833B-38F161223C1D}" type="presParOf" srcId="{C501AB14-ECD6-454E-85B9-549179D8A811}" destId="{ABF8C846-14A7-4AFB-BEAB-C6FEC815D6B7}" srcOrd="1" destOrd="0" presId="urn:microsoft.com/office/officeart/2018/2/layout/IconVerticalSolidList"/>
    <dgm:cxn modelId="{83DB620A-1D3B-4A47-A4B1-D881CFA9E578}" type="presParOf" srcId="{C501AB14-ECD6-454E-85B9-549179D8A811}" destId="{B47752F1-400D-4220-8CCE-14F23FC7D49D}" srcOrd="2" destOrd="0" presId="urn:microsoft.com/office/officeart/2018/2/layout/IconVerticalSolidList"/>
    <dgm:cxn modelId="{66D47755-B1E6-4F4C-80EE-645395F30715}" type="presParOf" srcId="{B47752F1-400D-4220-8CCE-14F23FC7D49D}" destId="{672C1EDA-B44C-44E8-A6A8-740A3340D6ED}" srcOrd="0" destOrd="0" presId="urn:microsoft.com/office/officeart/2018/2/layout/IconVerticalSolidList"/>
    <dgm:cxn modelId="{AE33BE35-19A0-459F-A5BA-355AFC029908}" type="presParOf" srcId="{B47752F1-400D-4220-8CCE-14F23FC7D49D}" destId="{9CA9BC42-1401-4981-A2F2-C1882C012F56}" srcOrd="1" destOrd="0" presId="urn:microsoft.com/office/officeart/2018/2/layout/IconVerticalSolidList"/>
    <dgm:cxn modelId="{544FF289-EF1D-405C-888D-28D19E0B32D3}" type="presParOf" srcId="{B47752F1-400D-4220-8CCE-14F23FC7D49D}" destId="{51CEE825-7B9A-483A-A2C2-4DFFDBAAD8D0}" srcOrd="2" destOrd="0" presId="urn:microsoft.com/office/officeart/2018/2/layout/IconVerticalSolidList"/>
    <dgm:cxn modelId="{26672480-AFA5-45AC-884D-4E497313FDE3}" type="presParOf" srcId="{B47752F1-400D-4220-8CCE-14F23FC7D49D}" destId="{2FCA336E-3BA5-47DE-B546-DB3455267E51}" srcOrd="3" destOrd="0" presId="urn:microsoft.com/office/officeart/2018/2/layout/IconVerticalSolidList"/>
    <dgm:cxn modelId="{8704ACD9-5CC1-454F-AE16-844608EC3DBB}" type="presParOf" srcId="{C501AB14-ECD6-454E-85B9-549179D8A811}" destId="{897EB76C-D0CF-4551-9169-4D758D1B1953}" srcOrd="3" destOrd="0" presId="urn:microsoft.com/office/officeart/2018/2/layout/IconVerticalSolidList"/>
    <dgm:cxn modelId="{4660D05E-2A15-4858-B7EE-3730E8D1104F}" type="presParOf" srcId="{C501AB14-ECD6-454E-85B9-549179D8A811}" destId="{C04082C5-35BE-469B-9A2E-45117F347ADA}" srcOrd="4" destOrd="0" presId="urn:microsoft.com/office/officeart/2018/2/layout/IconVerticalSolidList"/>
    <dgm:cxn modelId="{70D25B3D-149B-450C-BED7-11728E429EDB}" type="presParOf" srcId="{C04082C5-35BE-469B-9A2E-45117F347ADA}" destId="{0EBC8F8D-C63A-4A95-AA9C-EC4E99A2EE25}" srcOrd="0" destOrd="0" presId="urn:microsoft.com/office/officeart/2018/2/layout/IconVerticalSolidList"/>
    <dgm:cxn modelId="{B76DBDB5-65DE-40DF-9F98-D7A2425AA45A}" type="presParOf" srcId="{C04082C5-35BE-469B-9A2E-45117F347ADA}" destId="{E7E9F281-42E3-4E4B-A22E-3883AB2FD0B7}" srcOrd="1" destOrd="0" presId="urn:microsoft.com/office/officeart/2018/2/layout/IconVerticalSolidList"/>
    <dgm:cxn modelId="{D4D284C3-41DA-48A7-A93A-6915888E6124}" type="presParOf" srcId="{C04082C5-35BE-469B-9A2E-45117F347ADA}" destId="{B624823F-7B92-402E-8B0E-1608BAC35D64}" srcOrd="2" destOrd="0" presId="urn:microsoft.com/office/officeart/2018/2/layout/IconVerticalSolidList"/>
    <dgm:cxn modelId="{4F2AA666-2D59-4A6C-9189-F7552CD33446}" type="presParOf" srcId="{C04082C5-35BE-469B-9A2E-45117F347ADA}" destId="{26E8AB6C-4910-4D89-BF5B-6DEE4CAEE976}" srcOrd="3" destOrd="0" presId="urn:microsoft.com/office/officeart/2018/2/layout/IconVerticalSolid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755D81A-6CAA-4400-A97D-8E90720C9F64}" type="doc">
      <dgm:prSet loTypeId="urn:microsoft.com/office/officeart/2011/layout/RadialPictureList" loCatId="officeon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98164FB-35C0-4BEE-89DE-8455C8483DBB}">
      <dgm:prSet phldrT="[Text]" custT="1"/>
      <dgm:spPr/>
      <dgm:t>
        <a:bodyPr/>
        <a:lstStyle/>
        <a:p>
          <a:endParaRPr lang="en-GB" sz="1600" b="1">
            <a:solidFill>
              <a:schemeClr val="tx1"/>
            </a:solidFill>
          </a:endParaRPr>
        </a:p>
        <a:p>
          <a:r>
            <a:rPr lang="en-GB" sz="1600" b="1">
              <a:solidFill>
                <a:schemeClr val="tx1"/>
              </a:solidFill>
            </a:rPr>
            <a:t>People and places are prepared for increased flooding </a:t>
          </a:r>
        </a:p>
        <a:p>
          <a:r>
            <a:rPr lang="en-GB" sz="1600" b="0">
              <a:solidFill>
                <a:schemeClr val="tx1"/>
              </a:solidFill>
            </a:rPr>
            <a:t>-We are adapting to a changing climate, creating sustainable resilient places in ways that are inclusive and fair</a:t>
          </a:r>
          <a:endParaRPr lang="en-GB" sz="1400" b="0">
            <a:solidFill>
              <a:schemeClr val="tx1"/>
            </a:solidFill>
          </a:endParaRPr>
        </a:p>
      </dgm:t>
    </dgm:pt>
    <dgm:pt modelId="{389242B9-1D90-4136-AF86-AEAE572A0415}" type="parTrans" cxnId="{26211EDF-432B-4FFF-A62D-DC1B6D723062}">
      <dgm:prSet/>
      <dgm:spPr/>
      <dgm:t>
        <a:bodyPr/>
        <a:lstStyle/>
        <a:p>
          <a:endParaRPr lang="en-GB"/>
        </a:p>
      </dgm:t>
    </dgm:pt>
    <dgm:pt modelId="{29753A1E-E28B-493A-B25D-CA3CFAB1D9B7}" type="sibTrans" cxnId="{26211EDF-432B-4FFF-A62D-DC1B6D723062}">
      <dgm:prSet/>
      <dgm:spPr/>
      <dgm:t>
        <a:bodyPr/>
        <a:lstStyle/>
        <a:p>
          <a:endParaRPr lang="en-GB"/>
        </a:p>
      </dgm:t>
    </dgm:pt>
    <dgm:pt modelId="{3D015548-9039-4121-BDE9-BF258DFAE40D}">
      <dgm:prSet phldrT="[Text]"/>
      <dgm:spPr/>
      <dgm:t>
        <a:bodyPr/>
        <a:lstStyle/>
        <a:p>
          <a:r>
            <a:rPr lang="en-GB" b="1"/>
            <a:t>People -</a:t>
          </a:r>
        </a:p>
        <a:p>
          <a:r>
            <a:rPr lang="en-GB"/>
            <a:t>Creating flood resilient places involves our people and communities.</a:t>
          </a:r>
        </a:p>
      </dgm:t>
    </dgm:pt>
    <dgm:pt modelId="{BED8EDF9-AC03-4CB8-BBE4-C89237A448EA}" type="parTrans" cxnId="{578396F4-83C7-4C09-A740-5C49989B29C2}">
      <dgm:prSet/>
      <dgm:spPr/>
      <dgm:t>
        <a:bodyPr/>
        <a:lstStyle/>
        <a:p>
          <a:endParaRPr lang="en-GB"/>
        </a:p>
      </dgm:t>
    </dgm:pt>
    <dgm:pt modelId="{1143AFA5-F7EA-4473-9AD2-58AD2E2A6581}" type="sibTrans" cxnId="{578396F4-83C7-4C09-A740-5C49989B29C2}">
      <dgm:prSet/>
      <dgm:spPr/>
      <dgm:t>
        <a:bodyPr/>
        <a:lstStyle/>
        <a:p>
          <a:endParaRPr lang="en-GB"/>
        </a:p>
      </dgm:t>
    </dgm:pt>
    <dgm:pt modelId="{49EE7347-7392-486E-A989-D98F75B44F51}">
      <dgm:prSet phldrT="[Text]"/>
      <dgm:spPr/>
      <dgm:t>
        <a:bodyPr/>
        <a:lstStyle/>
        <a:p>
          <a:r>
            <a:rPr lang="en-GB" b="1"/>
            <a:t>Places -</a:t>
          </a:r>
        </a:p>
        <a:p>
          <a:r>
            <a:rPr lang="en-GB"/>
            <a:t>Land management and placemaking decisions follow good practise for flood resilience.</a:t>
          </a:r>
        </a:p>
        <a:p>
          <a:endParaRPr lang="en-GB"/>
        </a:p>
        <a:p>
          <a:endParaRPr lang="en-GB"/>
        </a:p>
      </dgm:t>
    </dgm:pt>
    <dgm:pt modelId="{959CFBE2-5E03-4619-BBD8-7CEB0B0FD43A}" type="parTrans" cxnId="{F738C67C-0E75-4AA4-83E3-1AECB7A60C42}">
      <dgm:prSet/>
      <dgm:spPr/>
      <dgm:t>
        <a:bodyPr/>
        <a:lstStyle/>
        <a:p>
          <a:endParaRPr lang="en-GB"/>
        </a:p>
      </dgm:t>
    </dgm:pt>
    <dgm:pt modelId="{8D05EF3A-D97C-40C6-9D7F-9327A4FBEB89}" type="sibTrans" cxnId="{F738C67C-0E75-4AA4-83E3-1AECB7A60C42}">
      <dgm:prSet/>
      <dgm:spPr/>
      <dgm:t>
        <a:bodyPr/>
        <a:lstStyle/>
        <a:p>
          <a:endParaRPr lang="en-GB"/>
        </a:p>
      </dgm:t>
    </dgm:pt>
    <dgm:pt modelId="{F774B0C2-5BF5-4EEB-9D50-026505E30B7B}">
      <dgm:prSet phldrT="[Text]"/>
      <dgm:spPr/>
      <dgm:t>
        <a:bodyPr/>
        <a:lstStyle/>
        <a:p>
          <a:r>
            <a:rPr lang="en-GB" b="1"/>
            <a:t>Processes - </a:t>
          </a:r>
        </a:p>
        <a:p>
          <a:r>
            <a:rPr lang="en-GB"/>
            <a:t>Flood resilience is blended into our places at all scales. A broader range of actions are being delivered by a broader range of delivery partners.</a:t>
          </a:r>
        </a:p>
        <a:p>
          <a:endParaRPr lang="en-GB"/>
        </a:p>
      </dgm:t>
    </dgm:pt>
    <dgm:pt modelId="{BFA8CF4B-C5F3-421D-9C0E-D37C4B24D7C7}" type="parTrans" cxnId="{BA62B9A7-E39D-4EB8-8215-746C07FA085A}">
      <dgm:prSet/>
      <dgm:spPr/>
      <dgm:t>
        <a:bodyPr/>
        <a:lstStyle/>
        <a:p>
          <a:endParaRPr lang="en-GB"/>
        </a:p>
      </dgm:t>
    </dgm:pt>
    <dgm:pt modelId="{44582AA9-9848-4056-AFD0-6AEDF1FE5DB0}" type="sibTrans" cxnId="{BA62B9A7-E39D-4EB8-8215-746C07FA085A}">
      <dgm:prSet/>
      <dgm:spPr/>
      <dgm:t>
        <a:bodyPr/>
        <a:lstStyle/>
        <a:p>
          <a:endParaRPr lang="en-GB"/>
        </a:p>
      </dgm:t>
    </dgm:pt>
    <dgm:pt modelId="{1C440E8C-6BBA-4BF1-BD84-86FB32245FA8}" type="pres">
      <dgm:prSet presAssocID="{6755D81A-6CAA-4400-A97D-8E90720C9F64}" presName="Name0" presStyleCnt="0">
        <dgm:presLayoutVars>
          <dgm:chMax val="1"/>
          <dgm:chPref val="1"/>
          <dgm:dir/>
          <dgm:resizeHandles/>
        </dgm:presLayoutVars>
      </dgm:prSet>
      <dgm:spPr/>
    </dgm:pt>
    <dgm:pt modelId="{2FD26CE8-1C89-42F3-AC3A-D1F53FD7CDCF}" type="pres">
      <dgm:prSet presAssocID="{E98164FB-35C0-4BEE-89DE-8455C8483DBB}" presName="Parent" presStyleLbl="node1" presStyleIdx="0" presStyleCnt="2">
        <dgm:presLayoutVars>
          <dgm:chMax val="4"/>
          <dgm:chPref val="3"/>
        </dgm:presLayoutVars>
      </dgm:prSet>
      <dgm:spPr/>
    </dgm:pt>
    <dgm:pt modelId="{98380FFB-06C3-4A16-AC87-43A5D139683E}" type="pres">
      <dgm:prSet presAssocID="{3D015548-9039-4121-BDE9-BF258DFAE40D}" presName="Accent" presStyleLbl="node1" presStyleIdx="1" presStyleCnt="2"/>
      <dgm:spPr/>
    </dgm:pt>
    <dgm:pt modelId="{D765A61B-AFB8-485B-B93A-900E92D19549}" type="pres">
      <dgm:prSet presAssocID="{3D015548-9039-4121-BDE9-BF258DFAE40D}" presName="Image1" presStyleLbl="fgImgPlace1" presStyleIdx="0" presStyleCnt="3" custLinFactNeighborY="2124"/>
      <dgm:spPr>
        <a:blipFill dpi="0" rotWithShape="1">
          <a:blip xmlns:r="http://schemas.openxmlformats.org/officeDocument/2006/relationships" r:embed="rId1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</dgm:pt>
    <dgm:pt modelId="{DDFC9A83-1541-485E-B354-345E2FEFA5E8}" type="pres">
      <dgm:prSet presAssocID="{3D015548-9039-4121-BDE9-BF258DFAE40D}" presName="Child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B0700162-9E0B-4F8D-A0DB-2E2AAE297331}" type="pres">
      <dgm:prSet presAssocID="{49EE7347-7392-486E-A989-D98F75B44F51}" presName="Image2" presStyleCnt="0"/>
      <dgm:spPr/>
    </dgm:pt>
    <dgm:pt modelId="{FF964803-948B-4667-9B43-02AE2490F76E}" type="pres">
      <dgm:prSet presAssocID="{49EE7347-7392-486E-A989-D98F75B44F51}" presName="Image" presStyleLbl="fgImgPlace1" presStyleIdx="1" presStyleCnt="3"/>
      <dgm:spPr>
        <a:blipFill>
          <a:blip xmlns:r="http://schemas.openxmlformats.org/officeDocument/2006/relationships" r:embed="rId3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ity with solid fill"/>
        </a:ext>
      </dgm:extLst>
    </dgm:pt>
    <dgm:pt modelId="{48389719-B223-4AF7-ABA4-C9F7527CF429}" type="pres">
      <dgm:prSet presAssocID="{49EE7347-7392-486E-A989-D98F75B44F51}" presName="Child2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7A7F297-11E9-4632-A3BE-3A4FE80450F6}" type="pres">
      <dgm:prSet presAssocID="{F774B0C2-5BF5-4EEB-9D50-026505E30B7B}" presName="Image3" presStyleCnt="0"/>
      <dgm:spPr/>
    </dgm:pt>
    <dgm:pt modelId="{E390CB2E-F4B6-4A73-B5B8-21BE9650E106}" type="pres">
      <dgm:prSet presAssocID="{F774B0C2-5BF5-4EEB-9D50-026505E30B7B}" presName="Image" presStyleLbl="fgImgPlace1" presStyleIdx="2" presStyleCnt="3"/>
      <dgm:spPr>
        <a:blipFill>
          <a:blip xmlns:r="http://schemas.openxmlformats.org/officeDocument/2006/relationships" r:embed="rId5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ycle with people with solid fill"/>
        </a:ext>
      </dgm:extLst>
    </dgm:pt>
    <dgm:pt modelId="{DEAE654F-2B38-4B6A-B50F-FB856A579943}" type="pres">
      <dgm:prSet presAssocID="{F774B0C2-5BF5-4EEB-9D50-026505E30B7B}" presName="Child3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66AA7633-607C-479D-A1AE-0929E72D5809}" type="presOf" srcId="{6755D81A-6CAA-4400-A97D-8E90720C9F64}" destId="{1C440E8C-6BBA-4BF1-BD84-86FB32245FA8}" srcOrd="0" destOrd="0" presId="urn:microsoft.com/office/officeart/2011/layout/RadialPictureList"/>
    <dgm:cxn modelId="{FDD20076-0992-4BCF-A31F-13C0B37353D8}" type="presOf" srcId="{E98164FB-35C0-4BEE-89DE-8455C8483DBB}" destId="{2FD26CE8-1C89-42F3-AC3A-D1F53FD7CDCF}" srcOrd="0" destOrd="0" presId="urn:microsoft.com/office/officeart/2011/layout/RadialPictureList"/>
    <dgm:cxn modelId="{F738C67C-0E75-4AA4-83E3-1AECB7A60C42}" srcId="{E98164FB-35C0-4BEE-89DE-8455C8483DBB}" destId="{49EE7347-7392-486E-A989-D98F75B44F51}" srcOrd="1" destOrd="0" parTransId="{959CFBE2-5E03-4619-BBD8-7CEB0B0FD43A}" sibTransId="{8D05EF3A-D97C-40C6-9D7F-9327A4FBEB89}"/>
    <dgm:cxn modelId="{DD421F8A-DBBE-4EEC-9E9D-72648816F3A6}" type="presOf" srcId="{49EE7347-7392-486E-A989-D98F75B44F51}" destId="{48389719-B223-4AF7-ABA4-C9F7527CF429}" srcOrd="0" destOrd="0" presId="urn:microsoft.com/office/officeart/2011/layout/RadialPictureList"/>
    <dgm:cxn modelId="{57CA8C8D-51DD-4A0D-97DA-94ECDDA39F4A}" type="presOf" srcId="{3D015548-9039-4121-BDE9-BF258DFAE40D}" destId="{DDFC9A83-1541-485E-B354-345E2FEFA5E8}" srcOrd="0" destOrd="0" presId="urn:microsoft.com/office/officeart/2011/layout/RadialPictureList"/>
    <dgm:cxn modelId="{BA62B9A7-E39D-4EB8-8215-746C07FA085A}" srcId="{E98164FB-35C0-4BEE-89DE-8455C8483DBB}" destId="{F774B0C2-5BF5-4EEB-9D50-026505E30B7B}" srcOrd="2" destOrd="0" parTransId="{BFA8CF4B-C5F3-421D-9C0E-D37C4B24D7C7}" sibTransId="{44582AA9-9848-4056-AFD0-6AEDF1FE5DB0}"/>
    <dgm:cxn modelId="{26211EDF-432B-4FFF-A62D-DC1B6D723062}" srcId="{6755D81A-6CAA-4400-A97D-8E90720C9F64}" destId="{E98164FB-35C0-4BEE-89DE-8455C8483DBB}" srcOrd="0" destOrd="0" parTransId="{389242B9-1D90-4136-AF86-AEAE572A0415}" sibTransId="{29753A1E-E28B-493A-B25D-CA3CFAB1D9B7}"/>
    <dgm:cxn modelId="{EB9705E2-5D64-4ABA-9995-E5747E6221FC}" type="presOf" srcId="{F774B0C2-5BF5-4EEB-9D50-026505E30B7B}" destId="{DEAE654F-2B38-4B6A-B50F-FB856A579943}" srcOrd="0" destOrd="0" presId="urn:microsoft.com/office/officeart/2011/layout/RadialPictureList"/>
    <dgm:cxn modelId="{578396F4-83C7-4C09-A740-5C49989B29C2}" srcId="{E98164FB-35C0-4BEE-89DE-8455C8483DBB}" destId="{3D015548-9039-4121-BDE9-BF258DFAE40D}" srcOrd="0" destOrd="0" parTransId="{BED8EDF9-AC03-4CB8-BBE4-C89237A448EA}" sibTransId="{1143AFA5-F7EA-4473-9AD2-58AD2E2A6581}"/>
    <dgm:cxn modelId="{CFB375A4-6067-442C-A5FD-1822C245C11A}" type="presParOf" srcId="{1C440E8C-6BBA-4BF1-BD84-86FB32245FA8}" destId="{2FD26CE8-1C89-42F3-AC3A-D1F53FD7CDCF}" srcOrd="0" destOrd="0" presId="urn:microsoft.com/office/officeart/2011/layout/RadialPictureList"/>
    <dgm:cxn modelId="{F8EDDC30-2493-4A74-9248-DCB88E310EA4}" type="presParOf" srcId="{1C440E8C-6BBA-4BF1-BD84-86FB32245FA8}" destId="{98380FFB-06C3-4A16-AC87-43A5D139683E}" srcOrd="1" destOrd="0" presId="urn:microsoft.com/office/officeart/2011/layout/RadialPictureList"/>
    <dgm:cxn modelId="{0BBFE980-9E96-4C9E-A75F-08D6A22E523B}" type="presParOf" srcId="{1C440E8C-6BBA-4BF1-BD84-86FB32245FA8}" destId="{D765A61B-AFB8-485B-B93A-900E92D19549}" srcOrd="2" destOrd="0" presId="urn:microsoft.com/office/officeart/2011/layout/RadialPictureList"/>
    <dgm:cxn modelId="{5653AAE6-4C25-463F-8879-E199624FD696}" type="presParOf" srcId="{1C440E8C-6BBA-4BF1-BD84-86FB32245FA8}" destId="{DDFC9A83-1541-485E-B354-345E2FEFA5E8}" srcOrd="3" destOrd="0" presId="urn:microsoft.com/office/officeart/2011/layout/RadialPictureList"/>
    <dgm:cxn modelId="{B132EB94-5EAF-4A47-BFDC-95EAE04A55A4}" type="presParOf" srcId="{1C440E8C-6BBA-4BF1-BD84-86FB32245FA8}" destId="{B0700162-9E0B-4F8D-A0DB-2E2AAE297331}" srcOrd="4" destOrd="0" presId="urn:microsoft.com/office/officeart/2011/layout/RadialPictureList"/>
    <dgm:cxn modelId="{14E35703-D216-4F69-BA5F-3884DE1020B6}" type="presParOf" srcId="{B0700162-9E0B-4F8D-A0DB-2E2AAE297331}" destId="{FF964803-948B-4667-9B43-02AE2490F76E}" srcOrd="0" destOrd="0" presId="urn:microsoft.com/office/officeart/2011/layout/RadialPictureList"/>
    <dgm:cxn modelId="{36B6C82C-DE9D-473D-A407-445F5C323D1F}" type="presParOf" srcId="{1C440E8C-6BBA-4BF1-BD84-86FB32245FA8}" destId="{48389719-B223-4AF7-ABA4-C9F7527CF429}" srcOrd="5" destOrd="0" presId="urn:microsoft.com/office/officeart/2011/layout/RadialPictureList"/>
    <dgm:cxn modelId="{69D67296-885A-4CFA-9ABD-2E39DB52C5AF}" type="presParOf" srcId="{1C440E8C-6BBA-4BF1-BD84-86FB32245FA8}" destId="{E7A7F297-11E9-4632-A3BE-3A4FE80450F6}" srcOrd="6" destOrd="0" presId="urn:microsoft.com/office/officeart/2011/layout/RadialPictureList"/>
    <dgm:cxn modelId="{D5B9A589-B731-40FF-B08A-DB2ADADDFC2F}" type="presParOf" srcId="{E7A7F297-11E9-4632-A3BE-3A4FE80450F6}" destId="{E390CB2E-F4B6-4A73-B5B8-21BE9650E106}" srcOrd="0" destOrd="0" presId="urn:microsoft.com/office/officeart/2011/layout/RadialPictureList"/>
    <dgm:cxn modelId="{1E8D697F-9B9E-492A-BBF3-9D3BB72FA801}" type="presParOf" srcId="{1C440E8C-6BBA-4BF1-BD84-86FB32245FA8}" destId="{DEAE654F-2B38-4B6A-B50F-FB856A579943}" srcOrd="7" destOrd="0" presId="urn:microsoft.com/office/officeart/2011/layout/RadialPictureList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EB7CD4D-79F7-45DA-BBE1-BD2F1915587D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7208EC3-898D-4595-9E71-4D34F4515C2A}">
      <dgm:prSet/>
      <dgm:spPr/>
      <dgm:t>
        <a:bodyPr/>
        <a:lstStyle/>
        <a:p>
          <a:r>
            <a:rPr lang="en-GB" b="1"/>
            <a:t>Developing community flood resilience as part of climate adaptation</a:t>
          </a:r>
        </a:p>
      </dgm:t>
    </dgm:pt>
    <dgm:pt modelId="{83F81B9C-E0D4-46AE-BDCD-C0A30D797E01}" type="parTrans" cxnId="{A472D747-013B-4BE5-8CDB-8B60DF55FEA7}">
      <dgm:prSet/>
      <dgm:spPr/>
      <dgm:t>
        <a:bodyPr/>
        <a:lstStyle/>
        <a:p>
          <a:endParaRPr lang="en-GB"/>
        </a:p>
      </dgm:t>
    </dgm:pt>
    <dgm:pt modelId="{E292B876-935F-487D-B86C-8B67E6993C01}" type="sibTrans" cxnId="{A472D747-013B-4BE5-8CDB-8B60DF55FEA7}">
      <dgm:prSet/>
      <dgm:spPr/>
      <dgm:t>
        <a:bodyPr/>
        <a:lstStyle/>
        <a:p>
          <a:endParaRPr lang="en-GB"/>
        </a:p>
      </dgm:t>
    </dgm:pt>
    <dgm:pt modelId="{3F2601C9-100F-4E72-A1A1-8975DE6239DA}">
      <dgm:prSet/>
      <dgm:spPr/>
      <dgm:t>
        <a:bodyPr/>
        <a:lstStyle/>
        <a:p>
          <a:r>
            <a:rPr lang="en-GB" b="1"/>
            <a:t>Involving people in the design of their places</a:t>
          </a:r>
        </a:p>
      </dgm:t>
    </dgm:pt>
    <dgm:pt modelId="{471CDAF5-CDF5-4CDE-BA8A-85814F9B5A38}" type="parTrans" cxnId="{FE23CC40-7CDC-41CD-8B43-F8B097CA99A7}">
      <dgm:prSet/>
      <dgm:spPr/>
      <dgm:t>
        <a:bodyPr/>
        <a:lstStyle/>
        <a:p>
          <a:endParaRPr lang="en-GB"/>
        </a:p>
      </dgm:t>
    </dgm:pt>
    <dgm:pt modelId="{AB5E6585-F3A0-4E95-B1B9-A5BB82EF9C51}" type="sibTrans" cxnId="{FE23CC40-7CDC-41CD-8B43-F8B097CA99A7}">
      <dgm:prSet/>
      <dgm:spPr/>
      <dgm:t>
        <a:bodyPr/>
        <a:lstStyle/>
        <a:p>
          <a:endParaRPr lang="en-GB"/>
        </a:p>
      </dgm:t>
    </dgm:pt>
    <dgm:pt modelId="{58253783-D3A8-4E65-BFF5-95ACF2D8C1E0}">
      <dgm:prSet/>
      <dgm:spPr/>
      <dgm:t>
        <a:bodyPr/>
        <a:lstStyle/>
        <a:p>
          <a:r>
            <a:rPr lang="en-GB"/>
            <a:t>Helping them understand their flood exposure and how that may change through time</a:t>
          </a:r>
        </a:p>
      </dgm:t>
    </dgm:pt>
    <dgm:pt modelId="{AC7AD3EC-518C-4F5B-8A4A-E0B809A3C699}" type="parTrans" cxnId="{A3A26324-FAC8-4D33-9C66-080FA076C0CA}">
      <dgm:prSet/>
      <dgm:spPr/>
      <dgm:t>
        <a:bodyPr/>
        <a:lstStyle/>
        <a:p>
          <a:endParaRPr lang="en-GB"/>
        </a:p>
      </dgm:t>
    </dgm:pt>
    <dgm:pt modelId="{588B15A7-1E51-44B1-911B-EFD487AE8EA6}" type="sibTrans" cxnId="{A3A26324-FAC8-4D33-9C66-080FA076C0CA}">
      <dgm:prSet/>
      <dgm:spPr/>
      <dgm:t>
        <a:bodyPr/>
        <a:lstStyle/>
        <a:p>
          <a:endParaRPr lang="en-GB"/>
        </a:p>
      </dgm:t>
    </dgm:pt>
    <dgm:pt modelId="{73CAD5E5-43CD-4EF1-9C2E-B6C08E722D91}">
      <dgm:prSet/>
      <dgm:spPr/>
      <dgm:t>
        <a:bodyPr/>
        <a:lstStyle/>
        <a:p>
          <a:r>
            <a:rPr lang="en-GB"/>
            <a:t>Helping them understand the options they may have</a:t>
          </a:r>
        </a:p>
      </dgm:t>
    </dgm:pt>
    <dgm:pt modelId="{9F3005DF-FE98-4AD5-8E20-959E69BE9034}" type="parTrans" cxnId="{D4284F60-E74C-4D78-9F14-0FDBEA3ACFC9}">
      <dgm:prSet/>
      <dgm:spPr/>
      <dgm:t>
        <a:bodyPr/>
        <a:lstStyle/>
        <a:p>
          <a:endParaRPr lang="en-GB"/>
        </a:p>
      </dgm:t>
    </dgm:pt>
    <dgm:pt modelId="{A8B02FFB-D4D7-434D-842E-D8D6E02B00B3}" type="sibTrans" cxnId="{D4284F60-E74C-4D78-9F14-0FDBEA3ACFC9}">
      <dgm:prSet/>
      <dgm:spPr/>
      <dgm:t>
        <a:bodyPr/>
        <a:lstStyle/>
        <a:p>
          <a:endParaRPr lang="en-GB"/>
        </a:p>
      </dgm:t>
    </dgm:pt>
    <dgm:pt modelId="{D7024C2E-7820-4CFC-8B49-0AC2E4069E85}">
      <dgm:prSet/>
      <dgm:spPr/>
      <dgm:t>
        <a:bodyPr/>
        <a:lstStyle/>
        <a:p>
          <a:r>
            <a:rPr lang="en-GB"/>
            <a:t>Short-term</a:t>
          </a:r>
        </a:p>
      </dgm:t>
    </dgm:pt>
    <dgm:pt modelId="{42552635-D5EA-4586-948B-FB7D37FEA802}" type="parTrans" cxnId="{D804DA19-B18C-4380-99A8-1E39EAF454AA}">
      <dgm:prSet/>
      <dgm:spPr/>
      <dgm:t>
        <a:bodyPr/>
        <a:lstStyle/>
        <a:p>
          <a:endParaRPr lang="en-GB"/>
        </a:p>
      </dgm:t>
    </dgm:pt>
    <dgm:pt modelId="{0C29D0B0-9A09-4951-852A-4AE1DFB78D7C}" type="sibTrans" cxnId="{D804DA19-B18C-4380-99A8-1E39EAF454AA}">
      <dgm:prSet/>
      <dgm:spPr/>
      <dgm:t>
        <a:bodyPr/>
        <a:lstStyle/>
        <a:p>
          <a:endParaRPr lang="en-GB"/>
        </a:p>
      </dgm:t>
    </dgm:pt>
    <dgm:pt modelId="{81B7C6AC-8884-4461-A2A2-7F9808CC7463}">
      <dgm:prSet/>
      <dgm:spPr/>
      <dgm:t>
        <a:bodyPr/>
        <a:lstStyle/>
        <a:p>
          <a:r>
            <a:rPr lang="en-GB"/>
            <a:t>Long-term</a:t>
          </a:r>
        </a:p>
      </dgm:t>
    </dgm:pt>
    <dgm:pt modelId="{3081E9D9-A1B4-4716-9C16-57CA1207F57B}" type="parTrans" cxnId="{958CF664-6813-4A4F-BC52-605F8BDB564D}">
      <dgm:prSet/>
      <dgm:spPr/>
      <dgm:t>
        <a:bodyPr/>
        <a:lstStyle/>
        <a:p>
          <a:endParaRPr lang="en-GB"/>
        </a:p>
      </dgm:t>
    </dgm:pt>
    <dgm:pt modelId="{80358FC3-8FCD-43AF-96F5-33ED57376BD0}" type="sibTrans" cxnId="{958CF664-6813-4A4F-BC52-605F8BDB564D}">
      <dgm:prSet/>
      <dgm:spPr/>
      <dgm:t>
        <a:bodyPr/>
        <a:lstStyle/>
        <a:p>
          <a:endParaRPr lang="en-GB"/>
        </a:p>
      </dgm:t>
    </dgm:pt>
    <dgm:pt modelId="{44A6FDB1-33F7-4FCA-BEDE-ECA6F0D12582}">
      <dgm:prSet/>
      <dgm:spPr/>
      <dgm:t>
        <a:bodyPr/>
        <a:lstStyle/>
        <a:p>
          <a:r>
            <a:rPr lang="en-GB"/>
            <a:t>Small–scale</a:t>
          </a:r>
        </a:p>
      </dgm:t>
    </dgm:pt>
    <dgm:pt modelId="{E671B8C4-3895-4D5F-8D50-7B1E3946216A}" type="parTrans" cxnId="{7F552E88-ABEA-45EE-AFA2-E80A4ACBAA70}">
      <dgm:prSet/>
      <dgm:spPr/>
      <dgm:t>
        <a:bodyPr/>
        <a:lstStyle/>
        <a:p>
          <a:endParaRPr lang="en-GB"/>
        </a:p>
      </dgm:t>
    </dgm:pt>
    <dgm:pt modelId="{40F29907-C006-48A3-8389-17AD3190FD7C}" type="sibTrans" cxnId="{7F552E88-ABEA-45EE-AFA2-E80A4ACBAA70}">
      <dgm:prSet/>
      <dgm:spPr/>
      <dgm:t>
        <a:bodyPr/>
        <a:lstStyle/>
        <a:p>
          <a:endParaRPr lang="en-GB"/>
        </a:p>
      </dgm:t>
    </dgm:pt>
    <dgm:pt modelId="{1E71C272-2319-41A6-874A-55EA5C9F181F}">
      <dgm:prSet/>
      <dgm:spPr/>
      <dgm:t>
        <a:bodyPr/>
        <a:lstStyle/>
        <a:p>
          <a:r>
            <a:rPr lang="en-GB"/>
            <a:t>Large-scale</a:t>
          </a:r>
        </a:p>
      </dgm:t>
    </dgm:pt>
    <dgm:pt modelId="{1AFD0A2B-B608-4B02-BA03-872018C320B1}" type="parTrans" cxnId="{EF7C9868-9A38-4C60-B5CD-3A1B3C49C24F}">
      <dgm:prSet/>
      <dgm:spPr/>
      <dgm:t>
        <a:bodyPr/>
        <a:lstStyle/>
        <a:p>
          <a:endParaRPr lang="en-GB"/>
        </a:p>
      </dgm:t>
    </dgm:pt>
    <dgm:pt modelId="{D9D3BC5B-38BA-4082-A4AF-5F02B2610680}" type="sibTrans" cxnId="{EF7C9868-9A38-4C60-B5CD-3A1B3C49C24F}">
      <dgm:prSet/>
      <dgm:spPr/>
      <dgm:t>
        <a:bodyPr/>
        <a:lstStyle/>
        <a:p>
          <a:endParaRPr lang="en-GB"/>
        </a:p>
      </dgm:t>
    </dgm:pt>
    <dgm:pt modelId="{95A200C0-BA19-4EE8-81B9-DB8C7CCFEEAC}" type="pres">
      <dgm:prSet presAssocID="{0EB7CD4D-79F7-45DA-BBE1-BD2F1915587D}" presName="Name0" presStyleCnt="0">
        <dgm:presLayoutVars>
          <dgm:dir/>
          <dgm:resizeHandles val="exact"/>
        </dgm:presLayoutVars>
      </dgm:prSet>
      <dgm:spPr/>
    </dgm:pt>
    <dgm:pt modelId="{5B89E36B-925F-419E-A778-9952642B1E8F}" type="pres">
      <dgm:prSet presAssocID="{57208EC3-898D-4595-9E71-4D34F4515C2A}" presName="composite" presStyleCnt="0"/>
      <dgm:spPr/>
    </dgm:pt>
    <dgm:pt modelId="{3082736B-51F2-455E-B276-9C9447F9ACE6}" type="pres">
      <dgm:prSet presAssocID="{57208EC3-898D-4595-9E71-4D34F4515C2A}" presName="rect1" presStyleLbl="trAlignAcc1" presStyleIdx="0" presStyleCnt="8">
        <dgm:presLayoutVars>
          <dgm:bulletEnabled val="1"/>
        </dgm:presLayoutVars>
      </dgm:prSet>
      <dgm:spPr/>
    </dgm:pt>
    <dgm:pt modelId="{8D0EB408-265C-43EB-8747-4B38FF37CDE7}" type="pres">
      <dgm:prSet presAssocID="{57208EC3-898D-4595-9E71-4D34F4515C2A}" presName="rect2" presStyleLbl="fgImgPlace1" presStyleIdx="0" presStyleCnt="8"/>
      <dgm:spPr>
        <a:blipFill>
          <a:blip xmlns:r="http://schemas.openxmlformats.org/officeDocument/2006/relationships" r:embed="rId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Neighbourhood with solid fill"/>
        </a:ext>
      </dgm:extLst>
    </dgm:pt>
    <dgm:pt modelId="{227328C3-AA21-4C38-AE13-79DC313DCB13}" type="pres">
      <dgm:prSet presAssocID="{E292B876-935F-487D-B86C-8B67E6993C01}" presName="sibTrans" presStyleCnt="0"/>
      <dgm:spPr/>
    </dgm:pt>
    <dgm:pt modelId="{119A0C42-0B2E-4467-A748-0AA374858480}" type="pres">
      <dgm:prSet presAssocID="{3F2601C9-100F-4E72-A1A1-8975DE6239DA}" presName="composite" presStyleCnt="0"/>
      <dgm:spPr/>
    </dgm:pt>
    <dgm:pt modelId="{4748BBEF-98F0-4140-B94F-94DDB13F106C}" type="pres">
      <dgm:prSet presAssocID="{3F2601C9-100F-4E72-A1A1-8975DE6239DA}" presName="rect1" presStyleLbl="trAlignAcc1" presStyleIdx="1" presStyleCnt="8">
        <dgm:presLayoutVars>
          <dgm:bulletEnabled val="1"/>
        </dgm:presLayoutVars>
      </dgm:prSet>
      <dgm:spPr/>
    </dgm:pt>
    <dgm:pt modelId="{CF96E06E-FCB5-4F55-8828-F2940B689BA2}" type="pres">
      <dgm:prSet presAssocID="{3F2601C9-100F-4E72-A1A1-8975DE6239DA}" presName="rect2" presStyleLbl="fgImgPlace1" presStyleIdx="1" presStyleCnt="8"/>
      <dgm:spPr>
        <a:blipFill>
          <a:blip xmlns:r="http://schemas.openxmlformats.org/officeDocument/2006/relationships"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Group of people with solid fill"/>
        </a:ext>
      </dgm:extLst>
    </dgm:pt>
    <dgm:pt modelId="{952E117B-8D79-49C9-8DCB-ABEBF0C7DE35}" type="pres">
      <dgm:prSet presAssocID="{AB5E6585-F3A0-4E95-B1B9-A5BB82EF9C51}" presName="sibTrans" presStyleCnt="0"/>
      <dgm:spPr/>
    </dgm:pt>
    <dgm:pt modelId="{3769B8DC-D037-4E7F-BC4A-D5BC944BEF58}" type="pres">
      <dgm:prSet presAssocID="{58253783-D3A8-4E65-BFF5-95ACF2D8C1E0}" presName="composite" presStyleCnt="0"/>
      <dgm:spPr/>
    </dgm:pt>
    <dgm:pt modelId="{4A7DD8FC-816E-41BA-B75D-6912D9831C6F}" type="pres">
      <dgm:prSet presAssocID="{58253783-D3A8-4E65-BFF5-95ACF2D8C1E0}" presName="rect1" presStyleLbl="trAlignAcc1" presStyleIdx="2" presStyleCnt="8">
        <dgm:presLayoutVars>
          <dgm:bulletEnabled val="1"/>
        </dgm:presLayoutVars>
      </dgm:prSet>
      <dgm:spPr/>
    </dgm:pt>
    <dgm:pt modelId="{FEA765A9-C07F-42CE-A6AE-69DD8D1E718E}" type="pres">
      <dgm:prSet presAssocID="{58253783-D3A8-4E65-BFF5-95ACF2D8C1E0}" presName="rect2" presStyleLbl="fgImgPlace1" presStyleIdx="2" presStyleCnt="8"/>
      <dgm:spPr>
        <a:blipFill>
          <a:blip xmlns:r="http://schemas.openxmlformats.org/officeDocument/2006/relationships"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Thought with solid fill"/>
        </a:ext>
      </dgm:extLst>
    </dgm:pt>
    <dgm:pt modelId="{5F7A178B-C9F8-4788-BE7F-0B6160FB50E2}" type="pres">
      <dgm:prSet presAssocID="{588B15A7-1E51-44B1-911B-EFD487AE8EA6}" presName="sibTrans" presStyleCnt="0"/>
      <dgm:spPr/>
    </dgm:pt>
    <dgm:pt modelId="{6488E225-2B69-48B2-9A1F-42CF88133379}" type="pres">
      <dgm:prSet presAssocID="{73CAD5E5-43CD-4EF1-9C2E-B6C08E722D91}" presName="composite" presStyleCnt="0"/>
      <dgm:spPr/>
    </dgm:pt>
    <dgm:pt modelId="{333DDC2F-2BC3-4EC5-81C2-83EFB0D349B9}" type="pres">
      <dgm:prSet presAssocID="{73CAD5E5-43CD-4EF1-9C2E-B6C08E722D91}" presName="rect1" presStyleLbl="trAlignAcc1" presStyleIdx="3" presStyleCnt="8">
        <dgm:presLayoutVars>
          <dgm:bulletEnabled val="1"/>
        </dgm:presLayoutVars>
      </dgm:prSet>
      <dgm:spPr/>
    </dgm:pt>
    <dgm:pt modelId="{4DD6262D-558B-40F9-8A9A-86FCD0A0EA45}" type="pres">
      <dgm:prSet presAssocID="{73CAD5E5-43CD-4EF1-9C2E-B6C08E722D91}" presName="rect2" presStyleLbl="fgImgPlace1" presStyleIdx="3" presStyleCnt="8"/>
      <dgm:spPr>
        <a:blipFill>
          <a:blip xmlns:r="http://schemas.openxmlformats.org/officeDocument/2006/relationships"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Chat with solid fill"/>
        </a:ext>
      </dgm:extLst>
    </dgm:pt>
    <dgm:pt modelId="{A816124F-B1D2-48B4-8F50-24EB73BEEF6C}" type="pres">
      <dgm:prSet presAssocID="{A8B02FFB-D4D7-434D-842E-D8D6E02B00B3}" presName="sibTrans" presStyleCnt="0"/>
      <dgm:spPr/>
    </dgm:pt>
    <dgm:pt modelId="{6110C3DD-23C2-4302-980E-86094F3D0688}" type="pres">
      <dgm:prSet presAssocID="{D7024C2E-7820-4CFC-8B49-0AC2E4069E85}" presName="composite" presStyleCnt="0"/>
      <dgm:spPr/>
    </dgm:pt>
    <dgm:pt modelId="{F91BB282-94FB-4130-A4CA-7509B5312889}" type="pres">
      <dgm:prSet presAssocID="{D7024C2E-7820-4CFC-8B49-0AC2E4069E85}" presName="rect1" presStyleLbl="trAlignAcc1" presStyleIdx="4" presStyleCnt="8">
        <dgm:presLayoutVars>
          <dgm:bulletEnabled val="1"/>
        </dgm:presLayoutVars>
      </dgm:prSet>
      <dgm:spPr/>
    </dgm:pt>
    <dgm:pt modelId="{A003ACCD-72C0-4D3D-B1CE-3F40754EF7A4}" type="pres">
      <dgm:prSet presAssocID="{D7024C2E-7820-4CFC-8B49-0AC2E4069E85}" presName="rect2" presStyleLbl="fgImgPlace1" presStyleIdx="4" presStyleCnt="8"/>
      <dgm:spPr>
        <a:blipFill>
          <a:blip xmlns:r="http://schemas.openxmlformats.org/officeDocument/2006/relationships"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Hourglass 60% with solid fill"/>
        </a:ext>
      </dgm:extLst>
    </dgm:pt>
    <dgm:pt modelId="{B2AD0E02-C779-4F56-938A-8DFC6D891111}" type="pres">
      <dgm:prSet presAssocID="{0C29D0B0-9A09-4951-852A-4AE1DFB78D7C}" presName="sibTrans" presStyleCnt="0"/>
      <dgm:spPr/>
    </dgm:pt>
    <dgm:pt modelId="{948E091B-F14D-423C-B01C-11E7BF719CB3}" type="pres">
      <dgm:prSet presAssocID="{81B7C6AC-8884-4461-A2A2-7F9808CC7463}" presName="composite" presStyleCnt="0"/>
      <dgm:spPr/>
    </dgm:pt>
    <dgm:pt modelId="{9C92D62D-84FF-4101-B78A-4F53BCFF8633}" type="pres">
      <dgm:prSet presAssocID="{81B7C6AC-8884-4461-A2A2-7F9808CC7463}" presName="rect1" presStyleLbl="trAlignAcc1" presStyleIdx="5" presStyleCnt="8">
        <dgm:presLayoutVars>
          <dgm:bulletEnabled val="1"/>
        </dgm:presLayoutVars>
      </dgm:prSet>
      <dgm:spPr/>
    </dgm:pt>
    <dgm:pt modelId="{D813723D-D9C4-4C21-AE5C-A96149BE6A99}" type="pres">
      <dgm:prSet presAssocID="{81B7C6AC-8884-4461-A2A2-7F9808CC7463}" presName="rect2" presStyleLbl="fgImgPlace1" presStyleIdx="5" presStyleCnt="8"/>
      <dgm:spPr>
        <a:blipFill>
          <a:blip xmlns:r="http://schemas.openxmlformats.org/officeDocument/2006/relationships"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onthly calendar with solid fill"/>
        </a:ext>
      </dgm:extLst>
    </dgm:pt>
    <dgm:pt modelId="{616E6E55-0861-49DE-AB08-EE5701C09965}" type="pres">
      <dgm:prSet presAssocID="{80358FC3-8FCD-43AF-96F5-33ED57376BD0}" presName="sibTrans" presStyleCnt="0"/>
      <dgm:spPr/>
    </dgm:pt>
    <dgm:pt modelId="{80341700-F512-4E66-B11F-6397F6818E9F}" type="pres">
      <dgm:prSet presAssocID="{44A6FDB1-33F7-4FCA-BEDE-ECA6F0D12582}" presName="composite" presStyleCnt="0"/>
      <dgm:spPr/>
    </dgm:pt>
    <dgm:pt modelId="{C2358A0E-D099-4B96-9973-AB7D576289F6}" type="pres">
      <dgm:prSet presAssocID="{44A6FDB1-33F7-4FCA-BEDE-ECA6F0D12582}" presName="rect1" presStyleLbl="trAlignAcc1" presStyleIdx="6" presStyleCnt="8">
        <dgm:presLayoutVars>
          <dgm:bulletEnabled val="1"/>
        </dgm:presLayoutVars>
      </dgm:prSet>
      <dgm:spPr/>
    </dgm:pt>
    <dgm:pt modelId="{03EB9159-09FA-4B4D-B632-B3F0CE13C34A}" type="pres">
      <dgm:prSet presAssocID="{44A6FDB1-33F7-4FCA-BEDE-ECA6F0D12582}" presName="rect2" presStyleLbl="fgImgPlace1" presStyleIdx="6" presStyleCnt="8"/>
      <dgm:spPr>
        <a:blipFill>
          <a:blip xmlns:r="http://schemas.openxmlformats.org/officeDocument/2006/relationships"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House with solid fill"/>
        </a:ext>
      </dgm:extLst>
    </dgm:pt>
    <dgm:pt modelId="{07680724-EC32-483C-A3BB-57FAF29661EE}" type="pres">
      <dgm:prSet presAssocID="{40F29907-C006-48A3-8389-17AD3190FD7C}" presName="sibTrans" presStyleCnt="0"/>
      <dgm:spPr/>
    </dgm:pt>
    <dgm:pt modelId="{7C63FCFA-94A3-4E25-81DB-A43C5C93D535}" type="pres">
      <dgm:prSet presAssocID="{1E71C272-2319-41A6-874A-55EA5C9F181F}" presName="composite" presStyleCnt="0"/>
      <dgm:spPr/>
    </dgm:pt>
    <dgm:pt modelId="{E929A503-1388-466E-8B3F-F8FA1AA511A0}" type="pres">
      <dgm:prSet presAssocID="{1E71C272-2319-41A6-874A-55EA5C9F181F}" presName="rect1" presStyleLbl="trAlignAcc1" presStyleIdx="7" presStyleCnt="8">
        <dgm:presLayoutVars>
          <dgm:bulletEnabled val="1"/>
        </dgm:presLayoutVars>
      </dgm:prSet>
      <dgm:spPr/>
    </dgm:pt>
    <dgm:pt modelId="{F8F8EF4E-BFCA-405A-884D-12CD427C39DE}" type="pres">
      <dgm:prSet presAssocID="{1E71C272-2319-41A6-874A-55EA5C9F181F}" presName="rect2" presStyleLbl="fgImgPlace1" presStyleIdx="7" presStyleCnt="8"/>
      <dgm:spPr>
        <a:blipFill>
          <a:blip xmlns:r="http://schemas.openxmlformats.org/officeDocument/2006/relationships" r:embed="rId1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City with solid fill"/>
        </a:ext>
      </dgm:extLst>
    </dgm:pt>
  </dgm:ptLst>
  <dgm:cxnLst>
    <dgm:cxn modelId="{CA026C0B-4943-4C40-AA6D-7A34A8B74045}" type="presOf" srcId="{44A6FDB1-33F7-4FCA-BEDE-ECA6F0D12582}" destId="{C2358A0E-D099-4B96-9973-AB7D576289F6}" srcOrd="0" destOrd="0" presId="urn:microsoft.com/office/officeart/2008/layout/PictureStrips"/>
    <dgm:cxn modelId="{D804DA19-B18C-4380-99A8-1E39EAF454AA}" srcId="{0EB7CD4D-79F7-45DA-BBE1-BD2F1915587D}" destId="{D7024C2E-7820-4CFC-8B49-0AC2E4069E85}" srcOrd="4" destOrd="0" parTransId="{42552635-D5EA-4586-948B-FB7D37FEA802}" sibTransId="{0C29D0B0-9A09-4951-852A-4AE1DFB78D7C}"/>
    <dgm:cxn modelId="{A3A26324-FAC8-4D33-9C66-080FA076C0CA}" srcId="{0EB7CD4D-79F7-45DA-BBE1-BD2F1915587D}" destId="{58253783-D3A8-4E65-BFF5-95ACF2D8C1E0}" srcOrd="2" destOrd="0" parTransId="{AC7AD3EC-518C-4F5B-8A4A-E0B809A3C699}" sibTransId="{588B15A7-1E51-44B1-911B-EFD487AE8EA6}"/>
    <dgm:cxn modelId="{02293E28-DD9D-4B25-AE42-4E6CAE572C5A}" type="presOf" srcId="{73CAD5E5-43CD-4EF1-9C2E-B6C08E722D91}" destId="{333DDC2F-2BC3-4EC5-81C2-83EFB0D349B9}" srcOrd="0" destOrd="0" presId="urn:microsoft.com/office/officeart/2008/layout/PictureStrips"/>
    <dgm:cxn modelId="{FE23CC40-7CDC-41CD-8B43-F8B097CA99A7}" srcId="{0EB7CD4D-79F7-45DA-BBE1-BD2F1915587D}" destId="{3F2601C9-100F-4E72-A1A1-8975DE6239DA}" srcOrd="1" destOrd="0" parTransId="{471CDAF5-CDF5-4CDE-BA8A-85814F9B5A38}" sibTransId="{AB5E6585-F3A0-4E95-B1B9-A5BB82EF9C51}"/>
    <dgm:cxn modelId="{D4284F60-E74C-4D78-9F14-0FDBEA3ACFC9}" srcId="{0EB7CD4D-79F7-45DA-BBE1-BD2F1915587D}" destId="{73CAD5E5-43CD-4EF1-9C2E-B6C08E722D91}" srcOrd="3" destOrd="0" parTransId="{9F3005DF-FE98-4AD5-8E20-959E69BE9034}" sibTransId="{A8B02FFB-D4D7-434D-842E-D8D6E02B00B3}"/>
    <dgm:cxn modelId="{958CF664-6813-4A4F-BC52-605F8BDB564D}" srcId="{0EB7CD4D-79F7-45DA-BBE1-BD2F1915587D}" destId="{81B7C6AC-8884-4461-A2A2-7F9808CC7463}" srcOrd="5" destOrd="0" parTransId="{3081E9D9-A1B4-4716-9C16-57CA1207F57B}" sibTransId="{80358FC3-8FCD-43AF-96F5-33ED57376BD0}"/>
    <dgm:cxn modelId="{A472D747-013B-4BE5-8CDB-8B60DF55FEA7}" srcId="{0EB7CD4D-79F7-45DA-BBE1-BD2F1915587D}" destId="{57208EC3-898D-4595-9E71-4D34F4515C2A}" srcOrd="0" destOrd="0" parTransId="{83F81B9C-E0D4-46AE-BDCD-C0A30D797E01}" sibTransId="{E292B876-935F-487D-B86C-8B67E6993C01}"/>
    <dgm:cxn modelId="{EF7C9868-9A38-4C60-B5CD-3A1B3C49C24F}" srcId="{0EB7CD4D-79F7-45DA-BBE1-BD2F1915587D}" destId="{1E71C272-2319-41A6-874A-55EA5C9F181F}" srcOrd="7" destOrd="0" parTransId="{1AFD0A2B-B608-4B02-BA03-872018C320B1}" sibTransId="{D9D3BC5B-38BA-4082-A4AF-5F02B2610680}"/>
    <dgm:cxn modelId="{8EEFBA81-B3D2-448C-A8E2-A611347FB0D9}" type="presOf" srcId="{0EB7CD4D-79F7-45DA-BBE1-BD2F1915587D}" destId="{95A200C0-BA19-4EE8-81B9-DB8C7CCFEEAC}" srcOrd="0" destOrd="0" presId="urn:microsoft.com/office/officeart/2008/layout/PictureStrips"/>
    <dgm:cxn modelId="{7F552E88-ABEA-45EE-AFA2-E80A4ACBAA70}" srcId="{0EB7CD4D-79F7-45DA-BBE1-BD2F1915587D}" destId="{44A6FDB1-33F7-4FCA-BEDE-ECA6F0D12582}" srcOrd="6" destOrd="0" parTransId="{E671B8C4-3895-4D5F-8D50-7B1E3946216A}" sibTransId="{40F29907-C006-48A3-8389-17AD3190FD7C}"/>
    <dgm:cxn modelId="{01973CA3-B0B6-4236-860E-72DB9C6949E4}" type="presOf" srcId="{58253783-D3A8-4E65-BFF5-95ACF2D8C1E0}" destId="{4A7DD8FC-816E-41BA-B75D-6912D9831C6F}" srcOrd="0" destOrd="0" presId="urn:microsoft.com/office/officeart/2008/layout/PictureStrips"/>
    <dgm:cxn modelId="{46AA44AB-EE12-45C5-94BE-FB42DDEFA063}" type="presOf" srcId="{1E71C272-2319-41A6-874A-55EA5C9F181F}" destId="{E929A503-1388-466E-8B3F-F8FA1AA511A0}" srcOrd="0" destOrd="0" presId="urn:microsoft.com/office/officeart/2008/layout/PictureStrips"/>
    <dgm:cxn modelId="{3111D2B5-EC06-4134-AA0D-3D01197B1FEC}" type="presOf" srcId="{D7024C2E-7820-4CFC-8B49-0AC2E4069E85}" destId="{F91BB282-94FB-4130-A4CA-7509B5312889}" srcOrd="0" destOrd="0" presId="urn:microsoft.com/office/officeart/2008/layout/PictureStrips"/>
    <dgm:cxn modelId="{D86202B6-0F8D-45CA-B5A9-099EB42A7513}" type="presOf" srcId="{81B7C6AC-8884-4461-A2A2-7F9808CC7463}" destId="{9C92D62D-84FF-4101-B78A-4F53BCFF8633}" srcOrd="0" destOrd="0" presId="urn:microsoft.com/office/officeart/2008/layout/PictureStrips"/>
    <dgm:cxn modelId="{B7BB8DD1-28DA-47C5-89F8-B8BEC172B091}" type="presOf" srcId="{57208EC3-898D-4595-9E71-4D34F4515C2A}" destId="{3082736B-51F2-455E-B276-9C9447F9ACE6}" srcOrd="0" destOrd="0" presId="urn:microsoft.com/office/officeart/2008/layout/PictureStrips"/>
    <dgm:cxn modelId="{A33DF2F6-7ECC-4E84-8AB9-612CCF8DB5D3}" type="presOf" srcId="{3F2601C9-100F-4E72-A1A1-8975DE6239DA}" destId="{4748BBEF-98F0-4140-B94F-94DDB13F106C}" srcOrd="0" destOrd="0" presId="urn:microsoft.com/office/officeart/2008/layout/PictureStrips"/>
    <dgm:cxn modelId="{75C6260C-9ACA-45C3-8612-E425DD507385}" type="presParOf" srcId="{95A200C0-BA19-4EE8-81B9-DB8C7CCFEEAC}" destId="{5B89E36B-925F-419E-A778-9952642B1E8F}" srcOrd="0" destOrd="0" presId="urn:microsoft.com/office/officeart/2008/layout/PictureStrips"/>
    <dgm:cxn modelId="{E6F8B9FB-C709-416A-B142-057C0A889D29}" type="presParOf" srcId="{5B89E36B-925F-419E-A778-9952642B1E8F}" destId="{3082736B-51F2-455E-B276-9C9447F9ACE6}" srcOrd="0" destOrd="0" presId="urn:microsoft.com/office/officeart/2008/layout/PictureStrips"/>
    <dgm:cxn modelId="{61B1B6FC-6903-47A0-A8F1-657C2E61CB6F}" type="presParOf" srcId="{5B89E36B-925F-419E-A778-9952642B1E8F}" destId="{8D0EB408-265C-43EB-8747-4B38FF37CDE7}" srcOrd="1" destOrd="0" presId="urn:microsoft.com/office/officeart/2008/layout/PictureStrips"/>
    <dgm:cxn modelId="{1531E968-8778-482F-9256-4FCD9DA807C5}" type="presParOf" srcId="{95A200C0-BA19-4EE8-81B9-DB8C7CCFEEAC}" destId="{227328C3-AA21-4C38-AE13-79DC313DCB13}" srcOrd="1" destOrd="0" presId="urn:microsoft.com/office/officeart/2008/layout/PictureStrips"/>
    <dgm:cxn modelId="{1262E358-F09A-4875-B8A3-3993BCDF0421}" type="presParOf" srcId="{95A200C0-BA19-4EE8-81B9-DB8C7CCFEEAC}" destId="{119A0C42-0B2E-4467-A748-0AA374858480}" srcOrd="2" destOrd="0" presId="urn:microsoft.com/office/officeart/2008/layout/PictureStrips"/>
    <dgm:cxn modelId="{A9478038-D256-4811-A9CD-5318E7F426E7}" type="presParOf" srcId="{119A0C42-0B2E-4467-A748-0AA374858480}" destId="{4748BBEF-98F0-4140-B94F-94DDB13F106C}" srcOrd="0" destOrd="0" presId="urn:microsoft.com/office/officeart/2008/layout/PictureStrips"/>
    <dgm:cxn modelId="{D5C60359-3FA2-484F-A2EB-D2E3BE75F8C3}" type="presParOf" srcId="{119A0C42-0B2E-4467-A748-0AA374858480}" destId="{CF96E06E-FCB5-4F55-8828-F2940B689BA2}" srcOrd="1" destOrd="0" presId="urn:microsoft.com/office/officeart/2008/layout/PictureStrips"/>
    <dgm:cxn modelId="{FD2F4C2E-6FE4-4546-92A2-6828CDFB3A33}" type="presParOf" srcId="{95A200C0-BA19-4EE8-81B9-DB8C7CCFEEAC}" destId="{952E117B-8D79-49C9-8DCB-ABEBF0C7DE35}" srcOrd="3" destOrd="0" presId="urn:microsoft.com/office/officeart/2008/layout/PictureStrips"/>
    <dgm:cxn modelId="{456A9808-4C8C-4264-AEF3-4C0E128F7935}" type="presParOf" srcId="{95A200C0-BA19-4EE8-81B9-DB8C7CCFEEAC}" destId="{3769B8DC-D037-4E7F-BC4A-D5BC944BEF58}" srcOrd="4" destOrd="0" presId="urn:microsoft.com/office/officeart/2008/layout/PictureStrips"/>
    <dgm:cxn modelId="{559BDAA5-6D39-4829-AB1D-28EE34909F12}" type="presParOf" srcId="{3769B8DC-D037-4E7F-BC4A-D5BC944BEF58}" destId="{4A7DD8FC-816E-41BA-B75D-6912D9831C6F}" srcOrd="0" destOrd="0" presId="urn:microsoft.com/office/officeart/2008/layout/PictureStrips"/>
    <dgm:cxn modelId="{4AF3C70A-63BC-4CF7-95FC-06F4456B848E}" type="presParOf" srcId="{3769B8DC-D037-4E7F-BC4A-D5BC944BEF58}" destId="{FEA765A9-C07F-42CE-A6AE-69DD8D1E718E}" srcOrd="1" destOrd="0" presId="urn:microsoft.com/office/officeart/2008/layout/PictureStrips"/>
    <dgm:cxn modelId="{617AAE3F-5350-40ED-9511-C3E4C4F06097}" type="presParOf" srcId="{95A200C0-BA19-4EE8-81B9-DB8C7CCFEEAC}" destId="{5F7A178B-C9F8-4788-BE7F-0B6160FB50E2}" srcOrd="5" destOrd="0" presId="urn:microsoft.com/office/officeart/2008/layout/PictureStrips"/>
    <dgm:cxn modelId="{9553AE90-9825-47C6-82DB-9CC192B3CAF8}" type="presParOf" srcId="{95A200C0-BA19-4EE8-81B9-DB8C7CCFEEAC}" destId="{6488E225-2B69-48B2-9A1F-42CF88133379}" srcOrd="6" destOrd="0" presId="urn:microsoft.com/office/officeart/2008/layout/PictureStrips"/>
    <dgm:cxn modelId="{EF822A81-35CE-49A3-B02D-1BCC46FD992F}" type="presParOf" srcId="{6488E225-2B69-48B2-9A1F-42CF88133379}" destId="{333DDC2F-2BC3-4EC5-81C2-83EFB0D349B9}" srcOrd="0" destOrd="0" presId="urn:microsoft.com/office/officeart/2008/layout/PictureStrips"/>
    <dgm:cxn modelId="{F11F4DCB-E451-4A1A-883C-E739B3653CA6}" type="presParOf" srcId="{6488E225-2B69-48B2-9A1F-42CF88133379}" destId="{4DD6262D-558B-40F9-8A9A-86FCD0A0EA45}" srcOrd="1" destOrd="0" presId="urn:microsoft.com/office/officeart/2008/layout/PictureStrips"/>
    <dgm:cxn modelId="{E8B92079-133D-4A1F-B42A-84016CBECF2E}" type="presParOf" srcId="{95A200C0-BA19-4EE8-81B9-DB8C7CCFEEAC}" destId="{A816124F-B1D2-48B4-8F50-24EB73BEEF6C}" srcOrd="7" destOrd="0" presId="urn:microsoft.com/office/officeart/2008/layout/PictureStrips"/>
    <dgm:cxn modelId="{F468BCC5-6F95-430B-9821-EBA72D614E90}" type="presParOf" srcId="{95A200C0-BA19-4EE8-81B9-DB8C7CCFEEAC}" destId="{6110C3DD-23C2-4302-980E-86094F3D0688}" srcOrd="8" destOrd="0" presId="urn:microsoft.com/office/officeart/2008/layout/PictureStrips"/>
    <dgm:cxn modelId="{4C398BD3-00D7-489B-9EC0-F16BA8A86044}" type="presParOf" srcId="{6110C3DD-23C2-4302-980E-86094F3D0688}" destId="{F91BB282-94FB-4130-A4CA-7509B5312889}" srcOrd="0" destOrd="0" presId="urn:microsoft.com/office/officeart/2008/layout/PictureStrips"/>
    <dgm:cxn modelId="{5393D270-7169-49A9-AF63-AFFCB875CC26}" type="presParOf" srcId="{6110C3DD-23C2-4302-980E-86094F3D0688}" destId="{A003ACCD-72C0-4D3D-B1CE-3F40754EF7A4}" srcOrd="1" destOrd="0" presId="urn:microsoft.com/office/officeart/2008/layout/PictureStrips"/>
    <dgm:cxn modelId="{14D6CABE-A007-4964-81EF-F77CD79FA04D}" type="presParOf" srcId="{95A200C0-BA19-4EE8-81B9-DB8C7CCFEEAC}" destId="{B2AD0E02-C779-4F56-938A-8DFC6D891111}" srcOrd="9" destOrd="0" presId="urn:microsoft.com/office/officeart/2008/layout/PictureStrips"/>
    <dgm:cxn modelId="{2A5FF544-9EE3-4ADD-B15A-B2BA29A20355}" type="presParOf" srcId="{95A200C0-BA19-4EE8-81B9-DB8C7CCFEEAC}" destId="{948E091B-F14D-423C-B01C-11E7BF719CB3}" srcOrd="10" destOrd="0" presId="urn:microsoft.com/office/officeart/2008/layout/PictureStrips"/>
    <dgm:cxn modelId="{5AFEEC4C-A319-4B5F-BD96-D5B528579D38}" type="presParOf" srcId="{948E091B-F14D-423C-B01C-11E7BF719CB3}" destId="{9C92D62D-84FF-4101-B78A-4F53BCFF8633}" srcOrd="0" destOrd="0" presId="urn:microsoft.com/office/officeart/2008/layout/PictureStrips"/>
    <dgm:cxn modelId="{5800F7F7-6381-4BA3-808D-95377DA8C327}" type="presParOf" srcId="{948E091B-F14D-423C-B01C-11E7BF719CB3}" destId="{D813723D-D9C4-4C21-AE5C-A96149BE6A99}" srcOrd="1" destOrd="0" presId="urn:microsoft.com/office/officeart/2008/layout/PictureStrips"/>
    <dgm:cxn modelId="{2B0E67D2-1FF0-47D2-98DF-CEB6FC987E57}" type="presParOf" srcId="{95A200C0-BA19-4EE8-81B9-DB8C7CCFEEAC}" destId="{616E6E55-0861-49DE-AB08-EE5701C09965}" srcOrd="11" destOrd="0" presId="urn:microsoft.com/office/officeart/2008/layout/PictureStrips"/>
    <dgm:cxn modelId="{9B454C89-1A2B-4C3D-8059-88D23B19A087}" type="presParOf" srcId="{95A200C0-BA19-4EE8-81B9-DB8C7CCFEEAC}" destId="{80341700-F512-4E66-B11F-6397F6818E9F}" srcOrd="12" destOrd="0" presId="urn:microsoft.com/office/officeart/2008/layout/PictureStrips"/>
    <dgm:cxn modelId="{DF952D47-A366-4D99-AB8A-3E3026643FF3}" type="presParOf" srcId="{80341700-F512-4E66-B11F-6397F6818E9F}" destId="{C2358A0E-D099-4B96-9973-AB7D576289F6}" srcOrd="0" destOrd="0" presId="urn:microsoft.com/office/officeart/2008/layout/PictureStrips"/>
    <dgm:cxn modelId="{A1A8C630-EDEE-427C-BBD8-F0223DA97734}" type="presParOf" srcId="{80341700-F512-4E66-B11F-6397F6818E9F}" destId="{03EB9159-09FA-4B4D-B632-B3F0CE13C34A}" srcOrd="1" destOrd="0" presId="urn:microsoft.com/office/officeart/2008/layout/PictureStrips"/>
    <dgm:cxn modelId="{0F87A765-1F89-4AEE-97A3-3C395EFEB9D0}" type="presParOf" srcId="{95A200C0-BA19-4EE8-81B9-DB8C7CCFEEAC}" destId="{07680724-EC32-483C-A3BB-57FAF29661EE}" srcOrd="13" destOrd="0" presId="urn:microsoft.com/office/officeart/2008/layout/PictureStrips"/>
    <dgm:cxn modelId="{29BDB901-A876-44F4-87B6-A709DF468E97}" type="presParOf" srcId="{95A200C0-BA19-4EE8-81B9-DB8C7CCFEEAC}" destId="{7C63FCFA-94A3-4E25-81DB-A43C5C93D535}" srcOrd="14" destOrd="0" presId="urn:microsoft.com/office/officeart/2008/layout/PictureStrips"/>
    <dgm:cxn modelId="{0F07000E-BBEF-4EDE-8886-98A2ED360831}" type="presParOf" srcId="{7C63FCFA-94A3-4E25-81DB-A43C5C93D535}" destId="{E929A503-1388-466E-8B3F-F8FA1AA511A0}" srcOrd="0" destOrd="0" presId="urn:microsoft.com/office/officeart/2008/layout/PictureStrips"/>
    <dgm:cxn modelId="{E9E45EA7-236D-4D59-9FF6-4D59103E751F}" type="presParOf" srcId="{7C63FCFA-94A3-4E25-81DB-A43C5C93D535}" destId="{F8F8EF4E-BFCA-405A-884D-12CD427C39DE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D4A6B05-E1C4-4283-BDBF-105A24B2A500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685B4E0-147C-417C-BF2E-A013BBCBEC0E}">
      <dgm:prSet/>
      <dgm:spPr/>
      <dgm:t>
        <a:bodyPr/>
        <a:lstStyle/>
        <a:p>
          <a:pPr marL="0" lvl="0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b="1"/>
            <a:t>Placemaking</a:t>
          </a:r>
        </a:p>
      </dgm:t>
    </dgm:pt>
    <dgm:pt modelId="{C56E2E91-9FA6-4AD8-9FBF-2602C8831DB4}" type="parTrans" cxnId="{E73B4C7B-F4DD-427A-B9B3-F95802179047}">
      <dgm:prSet/>
      <dgm:spPr/>
      <dgm:t>
        <a:bodyPr/>
        <a:lstStyle/>
        <a:p>
          <a:endParaRPr lang="en-GB"/>
        </a:p>
      </dgm:t>
    </dgm:pt>
    <dgm:pt modelId="{A0C5F635-A15B-4D9A-AB86-223D2A9F1965}" type="sibTrans" cxnId="{E73B4C7B-F4DD-427A-B9B3-F95802179047}">
      <dgm:prSet/>
      <dgm:spPr/>
      <dgm:t>
        <a:bodyPr/>
        <a:lstStyle/>
        <a:p>
          <a:endParaRPr lang="en-GB"/>
        </a:p>
      </dgm:t>
    </dgm:pt>
    <dgm:pt modelId="{1F4ED33A-E17B-461E-B2D6-54CB254CF192}">
      <dgm:prSet/>
      <dgm:spPr/>
      <dgm:t>
        <a:bodyPr/>
        <a:lstStyle/>
        <a:p>
          <a:r>
            <a:rPr lang="en-GB"/>
            <a:t>Making space for water</a:t>
          </a:r>
        </a:p>
      </dgm:t>
    </dgm:pt>
    <dgm:pt modelId="{0B6B8022-DB3F-4C77-8111-D98C7BBBE22E}" type="parTrans" cxnId="{FF9F908F-2DCE-41A6-8E44-168125B7D7DF}">
      <dgm:prSet/>
      <dgm:spPr/>
      <dgm:t>
        <a:bodyPr/>
        <a:lstStyle/>
        <a:p>
          <a:endParaRPr lang="en-GB"/>
        </a:p>
      </dgm:t>
    </dgm:pt>
    <dgm:pt modelId="{989CB56E-9D76-4765-8864-FD4C34AF97CE}" type="sibTrans" cxnId="{FF9F908F-2DCE-41A6-8E44-168125B7D7DF}">
      <dgm:prSet/>
      <dgm:spPr/>
      <dgm:t>
        <a:bodyPr/>
        <a:lstStyle/>
        <a:p>
          <a:endParaRPr lang="en-GB"/>
        </a:p>
      </dgm:t>
    </dgm:pt>
    <dgm:pt modelId="{94A7D147-E168-400B-A512-0085636B5B9B}">
      <dgm:prSet/>
      <dgm:spPr/>
      <dgm:t>
        <a:bodyPr/>
        <a:lstStyle/>
        <a:p>
          <a:r>
            <a:rPr lang="en-GB" b="1"/>
            <a:t>Making better use of land – urban and rural</a:t>
          </a:r>
        </a:p>
      </dgm:t>
    </dgm:pt>
    <dgm:pt modelId="{F3949A98-BDF1-484B-9658-A46D3CE6B5E7}" type="parTrans" cxnId="{8C846D2F-7B03-4A62-88C1-7744DEA407F6}">
      <dgm:prSet/>
      <dgm:spPr/>
      <dgm:t>
        <a:bodyPr/>
        <a:lstStyle/>
        <a:p>
          <a:endParaRPr lang="en-GB"/>
        </a:p>
      </dgm:t>
    </dgm:pt>
    <dgm:pt modelId="{A6D100E5-FAF0-4517-8C46-979166129B68}" type="sibTrans" cxnId="{8C846D2F-7B03-4A62-88C1-7744DEA407F6}">
      <dgm:prSet/>
      <dgm:spPr/>
      <dgm:t>
        <a:bodyPr/>
        <a:lstStyle/>
        <a:p>
          <a:endParaRPr lang="en-GB"/>
        </a:p>
      </dgm:t>
    </dgm:pt>
    <dgm:pt modelId="{DAE7D5C5-39B5-4E6D-BBA3-3C231DC208E5}">
      <dgm:prSet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/>
            <a:t>Bringing those involved in place-based design and adaptation projects together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GB"/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GB"/>
        </a:p>
      </dgm:t>
    </dgm:pt>
    <dgm:pt modelId="{92F2ADD5-89C3-4E2D-83B8-AE858756DA75}" type="parTrans" cxnId="{5E3A5BE3-45DC-4402-8DBA-4F672EC4D493}">
      <dgm:prSet/>
      <dgm:spPr/>
      <dgm:t>
        <a:bodyPr/>
        <a:lstStyle/>
        <a:p>
          <a:endParaRPr lang="en-GB"/>
        </a:p>
      </dgm:t>
    </dgm:pt>
    <dgm:pt modelId="{9F8F10BC-D9C8-4A6D-8434-C22144C1928F}" type="sibTrans" cxnId="{5E3A5BE3-45DC-4402-8DBA-4F672EC4D493}">
      <dgm:prSet/>
      <dgm:spPr/>
      <dgm:t>
        <a:bodyPr/>
        <a:lstStyle/>
        <a:p>
          <a:endParaRPr lang="en-GB"/>
        </a:p>
      </dgm:t>
    </dgm:pt>
    <dgm:pt modelId="{A07C6241-947A-45FD-837B-FB8B124A5F9A}">
      <dgm:prSet/>
      <dgm:spPr/>
      <dgm:t>
        <a:bodyPr/>
        <a:lstStyle/>
        <a:p>
          <a:pPr marL="0" lvl="0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/>
            <a:t>Optimising drainage networks - </a:t>
          </a:r>
        </a:p>
        <a:p>
          <a:pPr marL="0" lvl="0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/>
            <a:t>natural and man-made</a:t>
          </a:r>
        </a:p>
        <a:p>
          <a:endParaRPr lang="en-GB"/>
        </a:p>
      </dgm:t>
    </dgm:pt>
    <dgm:pt modelId="{33F9BB70-EF02-48A3-8DF7-757C9404DFCE}" type="parTrans" cxnId="{6632744E-1B83-403B-984E-05B36D25B535}">
      <dgm:prSet/>
      <dgm:spPr/>
      <dgm:t>
        <a:bodyPr/>
        <a:lstStyle/>
        <a:p>
          <a:endParaRPr lang="en-GB"/>
        </a:p>
      </dgm:t>
    </dgm:pt>
    <dgm:pt modelId="{31067250-4E19-4540-80A7-565093E08213}" type="sibTrans" cxnId="{6632744E-1B83-403B-984E-05B36D25B535}">
      <dgm:prSet/>
      <dgm:spPr/>
      <dgm:t>
        <a:bodyPr/>
        <a:lstStyle/>
        <a:p>
          <a:endParaRPr lang="en-GB"/>
        </a:p>
      </dgm:t>
    </dgm:pt>
    <dgm:pt modelId="{7BDB25C4-8131-4928-839F-FA5DD48A274C}">
      <dgm:prSet/>
      <dgm:spPr/>
      <dgm:t>
        <a:bodyPr/>
        <a:lstStyle/>
        <a:p>
          <a:r>
            <a:rPr lang="en-GB"/>
            <a:t>Long-term thinking</a:t>
          </a:r>
        </a:p>
      </dgm:t>
    </dgm:pt>
    <dgm:pt modelId="{E77208A8-BC56-478C-B0C3-C2C53E06A265}" type="parTrans" cxnId="{344FFE2B-C8B4-4D29-A6B6-1A3D238D5FB9}">
      <dgm:prSet/>
      <dgm:spPr/>
      <dgm:t>
        <a:bodyPr/>
        <a:lstStyle/>
        <a:p>
          <a:endParaRPr lang="en-GB"/>
        </a:p>
      </dgm:t>
    </dgm:pt>
    <dgm:pt modelId="{F4E7030A-3A58-4D58-8564-EF27AE5133C6}" type="sibTrans" cxnId="{344FFE2B-C8B4-4D29-A6B6-1A3D238D5FB9}">
      <dgm:prSet/>
      <dgm:spPr/>
      <dgm:t>
        <a:bodyPr/>
        <a:lstStyle/>
        <a:p>
          <a:endParaRPr lang="en-GB"/>
        </a:p>
      </dgm:t>
    </dgm:pt>
    <dgm:pt modelId="{EF00EA5B-EBB0-4A1D-9133-A5FC2662CB24}">
      <dgm:prSet/>
      <dgm:spPr/>
      <dgm:t>
        <a:bodyPr/>
        <a:lstStyle/>
        <a:p>
          <a:r>
            <a:rPr lang="en-GB"/>
            <a:t>Slow transition away from the most exposed areas</a:t>
          </a:r>
        </a:p>
      </dgm:t>
    </dgm:pt>
    <dgm:pt modelId="{98E3D170-5792-45AA-9A34-68721D56E1D8}" type="parTrans" cxnId="{4324B2A2-2C5C-447A-B505-288C7C80A6AC}">
      <dgm:prSet/>
      <dgm:spPr/>
      <dgm:t>
        <a:bodyPr/>
        <a:lstStyle/>
        <a:p>
          <a:endParaRPr lang="en-GB"/>
        </a:p>
      </dgm:t>
    </dgm:pt>
    <dgm:pt modelId="{F691B738-A13A-489E-86ED-7FBA9FC47FF0}" type="sibTrans" cxnId="{4324B2A2-2C5C-447A-B505-288C7C80A6AC}">
      <dgm:prSet/>
      <dgm:spPr/>
      <dgm:t>
        <a:bodyPr/>
        <a:lstStyle/>
        <a:p>
          <a:endParaRPr lang="en-GB"/>
        </a:p>
      </dgm:t>
    </dgm:pt>
    <dgm:pt modelId="{EDA53A52-868F-4A4A-98A5-65B769504664}" type="pres">
      <dgm:prSet presAssocID="{5D4A6B05-E1C4-4283-BDBF-105A24B2A500}" presName="Name0" presStyleCnt="0">
        <dgm:presLayoutVars>
          <dgm:dir/>
          <dgm:resizeHandles val="exact"/>
        </dgm:presLayoutVars>
      </dgm:prSet>
      <dgm:spPr/>
    </dgm:pt>
    <dgm:pt modelId="{A8737019-A0E2-409F-AC40-4471EEEAB8D9}" type="pres">
      <dgm:prSet presAssocID="{6685B4E0-147C-417C-BF2E-A013BBCBEC0E}" presName="composite" presStyleCnt="0"/>
      <dgm:spPr/>
    </dgm:pt>
    <dgm:pt modelId="{AB99B4E4-4FC4-4B4F-BC41-F33B19021DBB}" type="pres">
      <dgm:prSet presAssocID="{6685B4E0-147C-417C-BF2E-A013BBCBEC0E}" presName="rect1" presStyleLbl="trAlignAcc1" presStyleIdx="0" presStyleCnt="7">
        <dgm:presLayoutVars>
          <dgm:bulletEnabled val="1"/>
        </dgm:presLayoutVars>
      </dgm:prSet>
      <dgm:spPr/>
    </dgm:pt>
    <dgm:pt modelId="{2FA271E5-82D2-40C6-806A-3FC406D52D78}" type="pres">
      <dgm:prSet presAssocID="{6685B4E0-147C-417C-BF2E-A013BBCBEC0E}" presName="rect2" presStyleLbl="fgImgPlace1" presStyleIdx="0" presStyleCnt="7"/>
      <dgm:spPr>
        <a:blipFill>
          <a:blip xmlns:r="http://schemas.openxmlformats.org/officeDocument/2006/relationships" r:embed="rId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Neighbourhood with solid fill"/>
        </a:ext>
      </dgm:extLst>
    </dgm:pt>
    <dgm:pt modelId="{0FE717B2-3D3E-4AAC-9376-69AD1C53A605}" type="pres">
      <dgm:prSet presAssocID="{A0C5F635-A15B-4D9A-AB86-223D2A9F1965}" presName="sibTrans" presStyleCnt="0"/>
      <dgm:spPr/>
    </dgm:pt>
    <dgm:pt modelId="{7B03EB1B-F5D5-41DA-8700-D8320516F658}" type="pres">
      <dgm:prSet presAssocID="{1F4ED33A-E17B-461E-B2D6-54CB254CF192}" presName="composite" presStyleCnt="0"/>
      <dgm:spPr/>
    </dgm:pt>
    <dgm:pt modelId="{B6573EFF-DA7A-4EEA-9B86-EB634CC83BF9}" type="pres">
      <dgm:prSet presAssocID="{1F4ED33A-E17B-461E-B2D6-54CB254CF192}" presName="rect1" presStyleLbl="trAlignAcc1" presStyleIdx="1" presStyleCnt="7">
        <dgm:presLayoutVars>
          <dgm:bulletEnabled val="1"/>
        </dgm:presLayoutVars>
      </dgm:prSet>
      <dgm:spPr/>
    </dgm:pt>
    <dgm:pt modelId="{025521F9-8761-4A47-BA62-9AC2BAFAC3F8}" type="pres">
      <dgm:prSet presAssocID="{1F4ED33A-E17B-461E-B2D6-54CB254CF192}" presName="rect2" presStyleLbl="fgImgPlace1" presStyleIdx="1" presStyleCnt="7"/>
      <dgm:spPr>
        <a:blipFill>
          <a:blip xmlns:r="http://schemas.openxmlformats.org/officeDocument/2006/relationships"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Splash1 with solid fill"/>
        </a:ext>
      </dgm:extLst>
    </dgm:pt>
    <dgm:pt modelId="{9E159776-223A-4D0B-A149-996F4A160F47}" type="pres">
      <dgm:prSet presAssocID="{989CB56E-9D76-4765-8864-FD4C34AF97CE}" presName="sibTrans" presStyleCnt="0"/>
      <dgm:spPr/>
    </dgm:pt>
    <dgm:pt modelId="{9D945B09-C630-4585-9884-33BD805DDFEA}" type="pres">
      <dgm:prSet presAssocID="{94A7D147-E168-400B-A512-0085636B5B9B}" presName="composite" presStyleCnt="0"/>
      <dgm:spPr/>
    </dgm:pt>
    <dgm:pt modelId="{1793F46A-FA3E-48E1-956F-C05B8D2C234F}" type="pres">
      <dgm:prSet presAssocID="{94A7D147-E168-400B-A512-0085636B5B9B}" presName="rect1" presStyleLbl="trAlignAcc1" presStyleIdx="2" presStyleCnt="7">
        <dgm:presLayoutVars>
          <dgm:bulletEnabled val="1"/>
        </dgm:presLayoutVars>
      </dgm:prSet>
      <dgm:spPr/>
    </dgm:pt>
    <dgm:pt modelId="{29629E79-7D1B-4732-894A-D5037E83DE0A}" type="pres">
      <dgm:prSet presAssocID="{94A7D147-E168-400B-A512-0085636B5B9B}" presName="rect2" presStyleLbl="fgImgPlace1" presStyleIdx="2" presStyleCnt="7"/>
      <dgm:spPr>
        <a:blipFill>
          <a:blip xmlns:r="http://schemas.openxmlformats.org/officeDocument/2006/relationships"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Agriculture with solid fill"/>
        </a:ext>
      </dgm:extLst>
    </dgm:pt>
    <dgm:pt modelId="{78060386-74F0-4DB3-8EB5-B3004FDB66B8}" type="pres">
      <dgm:prSet presAssocID="{A6D100E5-FAF0-4517-8C46-979166129B68}" presName="sibTrans" presStyleCnt="0"/>
      <dgm:spPr/>
    </dgm:pt>
    <dgm:pt modelId="{FEDCA931-BFB3-46DF-81C8-6639EA2B32DF}" type="pres">
      <dgm:prSet presAssocID="{DAE7D5C5-39B5-4E6D-BBA3-3C231DC208E5}" presName="composite" presStyleCnt="0"/>
      <dgm:spPr/>
    </dgm:pt>
    <dgm:pt modelId="{2E414BA5-D5C4-4DC7-A6D6-3E2A323064AB}" type="pres">
      <dgm:prSet presAssocID="{DAE7D5C5-39B5-4E6D-BBA3-3C231DC208E5}" presName="rect1" presStyleLbl="trAlignAcc1" presStyleIdx="3" presStyleCnt="7">
        <dgm:presLayoutVars>
          <dgm:bulletEnabled val="1"/>
        </dgm:presLayoutVars>
      </dgm:prSet>
      <dgm:spPr/>
    </dgm:pt>
    <dgm:pt modelId="{D78985E7-8513-4F3D-864F-501F7A1CECC9}" type="pres">
      <dgm:prSet presAssocID="{DAE7D5C5-39B5-4E6D-BBA3-3C231DC208E5}" presName="rect2" presStyleLbl="fgImgPlace1" presStyleIdx="3" presStyleCnt="7"/>
      <dgm:spPr>
        <a:blipFill>
          <a:blip xmlns:r="http://schemas.openxmlformats.org/officeDocument/2006/relationships"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B9C1A26A-12FE-4BF7-9BE1-3AB25AAF0EB4}" type="pres">
      <dgm:prSet presAssocID="{9F8F10BC-D9C8-4A6D-8434-C22144C1928F}" presName="sibTrans" presStyleCnt="0"/>
      <dgm:spPr/>
    </dgm:pt>
    <dgm:pt modelId="{4533564A-24C1-4BFB-83CB-5F7576D1A4FA}" type="pres">
      <dgm:prSet presAssocID="{A07C6241-947A-45FD-837B-FB8B124A5F9A}" presName="composite" presStyleCnt="0"/>
      <dgm:spPr/>
    </dgm:pt>
    <dgm:pt modelId="{9AEA56C0-A56C-4DC5-9A9D-9077B10F9DF9}" type="pres">
      <dgm:prSet presAssocID="{A07C6241-947A-45FD-837B-FB8B124A5F9A}" presName="rect1" presStyleLbl="trAlignAcc1" presStyleIdx="4" presStyleCnt="7">
        <dgm:presLayoutVars>
          <dgm:bulletEnabled val="1"/>
        </dgm:presLayoutVars>
      </dgm:prSet>
      <dgm:spPr/>
    </dgm:pt>
    <dgm:pt modelId="{628871EE-DFA8-4196-8A5D-FEE30A856965}" type="pres">
      <dgm:prSet presAssocID="{A07C6241-947A-45FD-837B-FB8B124A5F9A}" presName="rect2" presStyleLbl="fgImgPlace1" presStyleIdx="4" presStyleCnt="7"/>
      <dgm:spPr>
        <a:blipFill>
          <a:blip xmlns:r="http://schemas.openxmlformats.org/officeDocument/2006/relationships"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Rain with solid fill"/>
        </a:ext>
      </dgm:extLst>
    </dgm:pt>
    <dgm:pt modelId="{8081E0CB-BF95-4988-9BA9-F65450710754}" type="pres">
      <dgm:prSet presAssocID="{31067250-4E19-4540-80A7-565093E08213}" presName="sibTrans" presStyleCnt="0"/>
      <dgm:spPr/>
    </dgm:pt>
    <dgm:pt modelId="{B021B383-2788-498F-8ED6-84305BE682A5}" type="pres">
      <dgm:prSet presAssocID="{7BDB25C4-8131-4928-839F-FA5DD48A274C}" presName="composite" presStyleCnt="0"/>
      <dgm:spPr/>
    </dgm:pt>
    <dgm:pt modelId="{2ADF80B3-AD9F-47E5-B3E2-FCB61E0DAFE9}" type="pres">
      <dgm:prSet presAssocID="{7BDB25C4-8131-4928-839F-FA5DD48A274C}" presName="rect1" presStyleLbl="trAlignAcc1" presStyleIdx="5" presStyleCnt="7">
        <dgm:presLayoutVars>
          <dgm:bulletEnabled val="1"/>
        </dgm:presLayoutVars>
      </dgm:prSet>
      <dgm:spPr/>
    </dgm:pt>
    <dgm:pt modelId="{D4619323-D736-45CB-9305-F7F6DE87DA79}" type="pres">
      <dgm:prSet presAssocID="{7BDB25C4-8131-4928-839F-FA5DD48A274C}" presName="rect2" presStyleLbl="fgImgPlace1" presStyleIdx="5" presStyleCnt="7"/>
      <dgm:spPr>
        <a:blipFill>
          <a:blip xmlns:r="http://schemas.openxmlformats.org/officeDocument/2006/relationships"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aze with solid fill"/>
        </a:ext>
      </dgm:extLst>
    </dgm:pt>
    <dgm:pt modelId="{1C1AD4FC-4651-489F-9D30-08FACA2483D6}" type="pres">
      <dgm:prSet presAssocID="{F4E7030A-3A58-4D58-8564-EF27AE5133C6}" presName="sibTrans" presStyleCnt="0"/>
      <dgm:spPr/>
    </dgm:pt>
    <dgm:pt modelId="{C9D763B3-8D3D-44AF-9E98-3E6DAB4B996F}" type="pres">
      <dgm:prSet presAssocID="{EF00EA5B-EBB0-4A1D-9133-A5FC2662CB24}" presName="composite" presStyleCnt="0"/>
      <dgm:spPr/>
    </dgm:pt>
    <dgm:pt modelId="{260244AF-9640-440E-81E5-39C1D40724E7}" type="pres">
      <dgm:prSet presAssocID="{EF00EA5B-EBB0-4A1D-9133-A5FC2662CB24}" presName="rect1" presStyleLbl="trAlignAcc1" presStyleIdx="6" presStyleCnt="7">
        <dgm:presLayoutVars>
          <dgm:bulletEnabled val="1"/>
        </dgm:presLayoutVars>
      </dgm:prSet>
      <dgm:spPr/>
    </dgm:pt>
    <dgm:pt modelId="{4A3DF1B3-FDCE-496C-ACC0-7ADA2A280313}" type="pres">
      <dgm:prSet presAssocID="{EF00EA5B-EBB0-4A1D-9133-A5FC2662CB24}" presName="rect2" presStyleLbl="fgImgPlace1" presStyleIdx="6" presStyleCnt="7" custFlipHor="1"/>
      <dgm:spPr>
        <a:blipFill>
          <a:blip xmlns:r="http://schemas.openxmlformats.org/officeDocument/2006/relationships"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Walk with solid fill"/>
        </a:ext>
      </dgm:extLst>
    </dgm:pt>
  </dgm:ptLst>
  <dgm:cxnLst>
    <dgm:cxn modelId="{AAC3D10F-F513-4A4F-8996-65FAA5D9197C}" type="presOf" srcId="{7BDB25C4-8131-4928-839F-FA5DD48A274C}" destId="{2ADF80B3-AD9F-47E5-B3E2-FCB61E0DAFE9}" srcOrd="0" destOrd="0" presId="urn:microsoft.com/office/officeart/2008/layout/PictureStrips"/>
    <dgm:cxn modelId="{0CA2271C-F723-45F0-B745-84824FD86792}" type="presOf" srcId="{1F4ED33A-E17B-461E-B2D6-54CB254CF192}" destId="{B6573EFF-DA7A-4EEA-9B86-EB634CC83BF9}" srcOrd="0" destOrd="0" presId="urn:microsoft.com/office/officeart/2008/layout/PictureStrips"/>
    <dgm:cxn modelId="{344FFE2B-C8B4-4D29-A6B6-1A3D238D5FB9}" srcId="{5D4A6B05-E1C4-4283-BDBF-105A24B2A500}" destId="{7BDB25C4-8131-4928-839F-FA5DD48A274C}" srcOrd="5" destOrd="0" parTransId="{E77208A8-BC56-478C-B0C3-C2C53E06A265}" sibTransId="{F4E7030A-3A58-4D58-8564-EF27AE5133C6}"/>
    <dgm:cxn modelId="{8C846D2F-7B03-4A62-88C1-7744DEA407F6}" srcId="{5D4A6B05-E1C4-4283-BDBF-105A24B2A500}" destId="{94A7D147-E168-400B-A512-0085636B5B9B}" srcOrd="2" destOrd="0" parTransId="{F3949A98-BDF1-484B-9658-A46D3CE6B5E7}" sibTransId="{A6D100E5-FAF0-4517-8C46-979166129B68}"/>
    <dgm:cxn modelId="{DCD03A33-F874-449F-918C-F5D546F98A59}" type="presOf" srcId="{A07C6241-947A-45FD-837B-FB8B124A5F9A}" destId="{9AEA56C0-A56C-4DC5-9A9D-9077B10F9DF9}" srcOrd="0" destOrd="0" presId="urn:microsoft.com/office/officeart/2008/layout/PictureStrips"/>
    <dgm:cxn modelId="{9EF2A137-22BA-41E6-902C-89663B3029C8}" type="presOf" srcId="{6685B4E0-147C-417C-BF2E-A013BBCBEC0E}" destId="{AB99B4E4-4FC4-4B4F-BC41-F33B19021DBB}" srcOrd="0" destOrd="0" presId="urn:microsoft.com/office/officeart/2008/layout/PictureStrips"/>
    <dgm:cxn modelId="{E537745F-9AB7-487F-A3CA-1AF45E0C692E}" type="presOf" srcId="{DAE7D5C5-39B5-4E6D-BBA3-3C231DC208E5}" destId="{2E414BA5-D5C4-4DC7-A6D6-3E2A323064AB}" srcOrd="0" destOrd="0" presId="urn:microsoft.com/office/officeart/2008/layout/PictureStrips"/>
    <dgm:cxn modelId="{6632744E-1B83-403B-984E-05B36D25B535}" srcId="{5D4A6B05-E1C4-4283-BDBF-105A24B2A500}" destId="{A07C6241-947A-45FD-837B-FB8B124A5F9A}" srcOrd="4" destOrd="0" parTransId="{33F9BB70-EF02-48A3-8DF7-757C9404DFCE}" sibTransId="{31067250-4E19-4540-80A7-565093E08213}"/>
    <dgm:cxn modelId="{783CAD71-B5C7-4B1F-BA80-15FA19A1346C}" type="presOf" srcId="{5D4A6B05-E1C4-4283-BDBF-105A24B2A500}" destId="{EDA53A52-868F-4A4A-98A5-65B769504664}" srcOrd="0" destOrd="0" presId="urn:microsoft.com/office/officeart/2008/layout/PictureStrips"/>
    <dgm:cxn modelId="{E73B4C7B-F4DD-427A-B9B3-F95802179047}" srcId="{5D4A6B05-E1C4-4283-BDBF-105A24B2A500}" destId="{6685B4E0-147C-417C-BF2E-A013BBCBEC0E}" srcOrd="0" destOrd="0" parTransId="{C56E2E91-9FA6-4AD8-9FBF-2602C8831DB4}" sibTransId="{A0C5F635-A15B-4D9A-AB86-223D2A9F1965}"/>
    <dgm:cxn modelId="{FF9F908F-2DCE-41A6-8E44-168125B7D7DF}" srcId="{5D4A6B05-E1C4-4283-BDBF-105A24B2A500}" destId="{1F4ED33A-E17B-461E-B2D6-54CB254CF192}" srcOrd="1" destOrd="0" parTransId="{0B6B8022-DB3F-4C77-8111-D98C7BBBE22E}" sibTransId="{989CB56E-9D76-4765-8864-FD4C34AF97CE}"/>
    <dgm:cxn modelId="{4324B2A2-2C5C-447A-B505-288C7C80A6AC}" srcId="{5D4A6B05-E1C4-4283-BDBF-105A24B2A500}" destId="{EF00EA5B-EBB0-4A1D-9133-A5FC2662CB24}" srcOrd="6" destOrd="0" parTransId="{98E3D170-5792-45AA-9A34-68721D56E1D8}" sibTransId="{F691B738-A13A-489E-86ED-7FBA9FC47FF0}"/>
    <dgm:cxn modelId="{5E3A5BE3-45DC-4402-8DBA-4F672EC4D493}" srcId="{5D4A6B05-E1C4-4283-BDBF-105A24B2A500}" destId="{DAE7D5C5-39B5-4E6D-BBA3-3C231DC208E5}" srcOrd="3" destOrd="0" parTransId="{92F2ADD5-89C3-4E2D-83B8-AE858756DA75}" sibTransId="{9F8F10BC-D9C8-4A6D-8434-C22144C1928F}"/>
    <dgm:cxn modelId="{A4DCA8F6-A280-4EE1-8EA3-01877CADE9B1}" type="presOf" srcId="{EF00EA5B-EBB0-4A1D-9133-A5FC2662CB24}" destId="{260244AF-9640-440E-81E5-39C1D40724E7}" srcOrd="0" destOrd="0" presId="urn:microsoft.com/office/officeart/2008/layout/PictureStrips"/>
    <dgm:cxn modelId="{28E00CFC-06E3-4A57-A19B-7B97626ED541}" type="presOf" srcId="{94A7D147-E168-400B-A512-0085636B5B9B}" destId="{1793F46A-FA3E-48E1-956F-C05B8D2C234F}" srcOrd="0" destOrd="0" presId="urn:microsoft.com/office/officeart/2008/layout/PictureStrips"/>
    <dgm:cxn modelId="{9C8E183C-E5FD-4D3D-9904-EE61F3FDAC7A}" type="presParOf" srcId="{EDA53A52-868F-4A4A-98A5-65B769504664}" destId="{A8737019-A0E2-409F-AC40-4471EEEAB8D9}" srcOrd="0" destOrd="0" presId="urn:microsoft.com/office/officeart/2008/layout/PictureStrips"/>
    <dgm:cxn modelId="{9BCBE873-3EA2-443A-8335-40367AF919F7}" type="presParOf" srcId="{A8737019-A0E2-409F-AC40-4471EEEAB8D9}" destId="{AB99B4E4-4FC4-4B4F-BC41-F33B19021DBB}" srcOrd="0" destOrd="0" presId="urn:microsoft.com/office/officeart/2008/layout/PictureStrips"/>
    <dgm:cxn modelId="{9A8D6E25-0640-4930-A13A-F31514940609}" type="presParOf" srcId="{A8737019-A0E2-409F-AC40-4471EEEAB8D9}" destId="{2FA271E5-82D2-40C6-806A-3FC406D52D78}" srcOrd="1" destOrd="0" presId="urn:microsoft.com/office/officeart/2008/layout/PictureStrips"/>
    <dgm:cxn modelId="{1FF97297-4B4A-407C-B64F-F5BEB7FAAB22}" type="presParOf" srcId="{EDA53A52-868F-4A4A-98A5-65B769504664}" destId="{0FE717B2-3D3E-4AAC-9376-69AD1C53A605}" srcOrd="1" destOrd="0" presId="urn:microsoft.com/office/officeart/2008/layout/PictureStrips"/>
    <dgm:cxn modelId="{C06B2CC8-6D1C-41E4-A8DA-8D25D8E2ECE7}" type="presParOf" srcId="{EDA53A52-868F-4A4A-98A5-65B769504664}" destId="{7B03EB1B-F5D5-41DA-8700-D8320516F658}" srcOrd="2" destOrd="0" presId="urn:microsoft.com/office/officeart/2008/layout/PictureStrips"/>
    <dgm:cxn modelId="{16B26E54-BB55-4F8B-8FFA-208466F11CF4}" type="presParOf" srcId="{7B03EB1B-F5D5-41DA-8700-D8320516F658}" destId="{B6573EFF-DA7A-4EEA-9B86-EB634CC83BF9}" srcOrd="0" destOrd="0" presId="urn:microsoft.com/office/officeart/2008/layout/PictureStrips"/>
    <dgm:cxn modelId="{0BB37BAD-6F0D-4D89-AD73-C8DA2D12D72F}" type="presParOf" srcId="{7B03EB1B-F5D5-41DA-8700-D8320516F658}" destId="{025521F9-8761-4A47-BA62-9AC2BAFAC3F8}" srcOrd="1" destOrd="0" presId="urn:microsoft.com/office/officeart/2008/layout/PictureStrips"/>
    <dgm:cxn modelId="{31761651-A7C4-4C44-9FFB-73D196C4AB45}" type="presParOf" srcId="{EDA53A52-868F-4A4A-98A5-65B769504664}" destId="{9E159776-223A-4D0B-A149-996F4A160F47}" srcOrd="3" destOrd="0" presId="urn:microsoft.com/office/officeart/2008/layout/PictureStrips"/>
    <dgm:cxn modelId="{191DAA8C-D4A8-468E-886F-14CB6E2782DF}" type="presParOf" srcId="{EDA53A52-868F-4A4A-98A5-65B769504664}" destId="{9D945B09-C630-4585-9884-33BD805DDFEA}" srcOrd="4" destOrd="0" presId="urn:microsoft.com/office/officeart/2008/layout/PictureStrips"/>
    <dgm:cxn modelId="{0DFD61BC-E546-4A78-B387-4BC7637E2801}" type="presParOf" srcId="{9D945B09-C630-4585-9884-33BD805DDFEA}" destId="{1793F46A-FA3E-48E1-956F-C05B8D2C234F}" srcOrd="0" destOrd="0" presId="urn:microsoft.com/office/officeart/2008/layout/PictureStrips"/>
    <dgm:cxn modelId="{7C7C7928-A296-4A1C-930B-A9DC613C0447}" type="presParOf" srcId="{9D945B09-C630-4585-9884-33BD805DDFEA}" destId="{29629E79-7D1B-4732-894A-D5037E83DE0A}" srcOrd="1" destOrd="0" presId="urn:microsoft.com/office/officeart/2008/layout/PictureStrips"/>
    <dgm:cxn modelId="{B0023FA5-85E5-4062-9AF0-85BF88E29C87}" type="presParOf" srcId="{EDA53A52-868F-4A4A-98A5-65B769504664}" destId="{78060386-74F0-4DB3-8EB5-B3004FDB66B8}" srcOrd="5" destOrd="0" presId="urn:microsoft.com/office/officeart/2008/layout/PictureStrips"/>
    <dgm:cxn modelId="{CF4ED223-A6C8-4CB8-967A-1FD9886BB017}" type="presParOf" srcId="{EDA53A52-868F-4A4A-98A5-65B769504664}" destId="{FEDCA931-BFB3-46DF-81C8-6639EA2B32DF}" srcOrd="6" destOrd="0" presId="urn:microsoft.com/office/officeart/2008/layout/PictureStrips"/>
    <dgm:cxn modelId="{58D3C22D-07A8-438C-A0EA-A6F23BDAB803}" type="presParOf" srcId="{FEDCA931-BFB3-46DF-81C8-6639EA2B32DF}" destId="{2E414BA5-D5C4-4DC7-A6D6-3E2A323064AB}" srcOrd="0" destOrd="0" presId="urn:microsoft.com/office/officeart/2008/layout/PictureStrips"/>
    <dgm:cxn modelId="{DC57A2A0-0603-4815-937A-4BB59206DAEC}" type="presParOf" srcId="{FEDCA931-BFB3-46DF-81C8-6639EA2B32DF}" destId="{D78985E7-8513-4F3D-864F-501F7A1CECC9}" srcOrd="1" destOrd="0" presId="urn:microsoft.com/office/officeart/2008/layout/PictureStrips"/>
    <dgm:cxn modelId="{7E8351B9-9402-4C7F-9AD7-BA1B98816E45}" type="presParOf" srcId="{EDA53A52-868F-4A4A-98A5-65B769504664}" destId="{B9C1A26A-12FE-4BF7-9BE1-3AB25AAF0EB4}" srcOrd="7" destOrd="0" presId="urn:microsoft.com/office/officeart/2008/layout/PictureStrips"/>
    <dgm:cxn modelId="{D1C19D0C-2576-4C2D-BD8B-FF4441F8FBF1}" type="presParOf" srcId="{EDA53A52-868F-4A4A-98A5-65B769504664}" destId="{4533564A-24C1-4BFB-83CB-5F7576D1A4FA}" srcOrd="8" destOrd="0" presId="urn:microsoft.com/office/officeart/2008/layout/PictureStrips"/>
    <dgm:cxn modelId="{6E442A02-5AD8-4B5E-888C-2FDA0540B652}" type="presParOf" srcId="{4533564A-24C1-4BFB-83CB-5F7576D1A4FA}" destId="{9AEA56C0-A56C-4DC5-9A9D-9077B10F9DF9}" srcOrd="0" destOrd="0" presId="urn:microsoft.com/office/officeart/2008/layout/PictureStrips"/>
    <dgm:cxn modelId="{F12041D7-2FC4-4012-8737-F84D01ADA143}" type="presParOf" srcId="{4533564A-24C1-4BFB-83CB-5F7576D1A4FA}" destId="{628871EE-DFA8-4196-8A5D-FEE30A856965}" srcOrd="1" destOrd="0" presId="urn:microsoft.com/office/officeart/2008/layout/PictureStrips"/>
    <dgm:cxn modelId="{3750692C-EF1E-4E1A-8841-5A6004F5C12F}" type="presParOf" srcId="{EDA53A52-868F-4A4A-98A5-65B769504664}" destId="{8081E0CB-BF95-4988-9BA9-F65450710754}" srcOrd="9" destOrd="0" presId="urn:microsoft.com/office/officeart/2008/layout/PictureStrips"/>
    <dgm:cxn modelId="{35261418-E7F1-4413-AA7C-84674F364B09}" type="presParOf" srcId="{EDA53A52-868F-4A4A-98A5-65B769504664}" destId="{B021B383-2788-498F-8ED6-84305BE682A5}" srcOrd="10" destOrd="0" presId="urn:microsoft.com/office/officeart/2008/layout/PictureStrips"/>
    <dgm:cxn modelId="{0618474E-F26E-4BC9-9B8B-377E17199544}" type="presParOf" srcId="{B021B383-2788-498F-8ED6-84305BE682A5}" destId="{2ADF80B3-AD9F-47E5-B3E2-FCB61E0DAFE9}" srcOrd="0" destOrd="0" presId="urn:microsoft.com/office/officeart/2008/layout/PictureStrips"/>
    <dgm:cxn modelId="{268CA261-69B0-4112-9704-B6AF50AE3E3B}" type="presParOf" srcId="{B021B383-2788-498F-8ED6-84305BE682A5}" destId="{D4619323-D736-45CB-9305-F7F6DE87DA79}" srcOrd="1" destOrd="0" presId="urn:microsoft.com/office/officeart/2008/layout/PictureStrips"/>
    <dgm:cxn modelId="{FC0BFCFA-D745-43DE-9AAC-03E0D0AE545F}" type="presParOf" srcId="{EDA53A52-868F-4A4A-98A5-65B769504664}" destId="{1C1AD4FC-4651-489F-9D30-08FACA2483D6}" srcOrd="11" destOrd="0" presId="urn:microsoft.com/office/officeart/2008/layout/PictureStrips"/>
    <dgm:cxn modelId="{F2160306-A83E-408B-8FB6-0233FAE7D1FA}" type="presParOf" srcId="{EDA53A52-868F-4A4A-98A5-65B769504664}" destId="{C9D763B3-8D3D-44AF-9E98-3E6DAB4B996F}" srcOrd="12" destOrd="0" presId="urn:microsoft.com/office/officeart/2008/layout/PictureStrips"/>
    <dgm:cxn modelId="{36C2495B-7D75-402F-88B0-2A24AAAF1FF6}" type="presParOf" srcId="{C9D763B3-8D3D-44AF-9E98-3E6DAB4B996F}" destId="{260244AF-9640-440E-81E5-39C1D40724E7}" srcOrd="0" destOrd="0" presId="urn:microsoft.com/office/officeart/2008/layout/PictureStrips"/>
    <dgm:cxn modelId="{0F777041-2A91-4573-B81E-A97B79C2D60E}" type="presParOf" srcId="{C9D763B3-8D3D-44AF-9E98-3E6DAB4B996F}" destId="{4A3DF1B3-FDCE-496C-ACC0-7ADA2A280313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692C6C4-FA0B-4E1D-8913-585B3F9412D1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B8DF7A2-BCC2-4F78-8826-C2B2654B319D}">
      <dgm:prSet/>
      <dgm:spPr/>
      <dgm:t>
        <a:bodyPr/>
        <a:lstStyle/>
        <a:p>
          <a:r>
            <a:rPr lang="en-GB"/>
            <a:t>Increasing the range of actions</a:t>
          </a:r>
        </a:p>
      </dgm:t>
    </dgm:pt>
    <dgm:pt modelId="{430810C3-E963-43ED-8E98-5D7E8B59ED12}" type="parTrans" cxnId="{468B2909-F62B-4CC0-9473-3F07953F34E6}">
      <dgm:prSet/>
      <dgm:spPr/>
      <dgm:t>
        <a:bodyPr/>
        <a:lstStyle/>
        <a:p>
          <a:endParaRPr lang="en-GB"/>
        </a:p>
      </dgm:t>
    </dgm:pt>
    <dgm:pt modelId="{EB5D7492-81A4-45D6-974C-FDE6A1EB1363}" type="sibTrans" cxnId="{468B2909-F62B-4CC0-9473-3F07953F34E6}">
      <dgm:prSet/>
      <dgm:spPr/>
      <dgm:t>
        <a:bodyPr/>
        <a:lstStyle/>
        <a:p>
          <a:endParaRPr lang="en-GB"/>
        </a:p>
      </dgm:t>
    </dgm:pt>
    <dgm:pt modelId="{D713C7E5-6CD1-4C63-AF00-49C2FE4B1DBB}">
      <dgm:prSet/>
      <dgm:spPr/>
      <dgm:t>
        <a:bodyPr/>
        <a:lstStyle/>
        <a:p>
          <a:r>
            <a:rPr lang="en-GB"/>
            <a:t>Increasing range of delivery partners</a:t>
          </a:r>
        </a:p>
      </dgm:t>
    </dgm:pt>
    <dgm:pt modelId="{AB52F23D-BD78-4A15-812A-E3BD6B8AE1F6}" type="parTrans" cxnId="{106E81C0-6B96-47D0-96B3-545E8E5EFC4E}">
      <dgm:prSet/>
      <dgm:spPr/>
      <dgm:t>
        <a:bodyPr/>
        <a:lstStyle/>
        <a:p>
          <a:endParaRPr lang="en-GB"/>
        </a:p>
      </dgm:t>
    </dgm:pt>
    <dgm:pt modelId="{1BE7228A-48EE-4FBC-A2AA-B74B2E9EEFD8}" type="sibTrans" cxnId="{106E81C0-6B96-47D0-96B3-545E8E5EFC4E}">
      <dgm:prSet/>
      <dgm:spPr/>
      <dgm:t>
        <a:bodyPr/>
        <a:lstStyle/>
        <a:p>
          <a:endParaRPr lang="en-GB"/>
        </a:p>
      </dgm:t>
    </dgm:pt>
    <dgm:pt modelId="{AB003474-D221-4EA0-A4BE-72C424115DA5}">
      <dgm:prSet/>
      <dgm:spPr/>
      <dgm:t>
        <a:bodyPr/>
        <a:lstStyle/>
        <a:p>
          <a:r>
            <a:rPr lang="en-GB"/>
            <a:t>Using flood risk management plans to bring forward different actions</a:t>
          </a:r>
        </a:p>
      </dgm:t>
    </dgm:pt>
    <dgm:pt modelId="{00579693-6FF2-4962-BDC8-4F55C8341E13}" type="parTrans" cxnId="{9CDB089A-EF45-4A07-80FA-CCF1BBDC8D9E}">
      <dgm:prSet/>
      <dgm:spPr/>
      <dgm:t>
        <a:bodyPr/>
        <a:lstStyle/>
        <a:p>
          <a:endParaRPr lang="en-GB"/>
        </a:p>
      </dgm:t>
    </dgm:pt>
    <dgm:pt modelId="{420B6835-428F-4917-976A-144E11889621}" type="sibTrans" cxnId="{9CDB089A-EF45-4A07-80FA-CCF1BBDC8D9E}">
      <dgm:prSet/>
      <dgm:spPr/>
      <dgm:t>
        <a:bodyPr/>
        <a:lstStyle/>
        <a:p>
          <a:endParaRPr lang="en-GB"/>
        </a:p>
      </dgm:t>
    </dgm:pt>
    <dgm:pt modelId="{AEC01095-2AEB-4C63-883B-350EC2E13091}">
      <dgm:prSet/>
      <dgm:spPr/>
      <dgm:t>
        <a:bodyPr/>
        <a:lstStyle/>
        <a:p>
          <a:r>
            <a:rPr lang="en-GB" b="1"/>
            <a:t>Accessing and deploying available resources</a:t>
          </a:r>
        </a:p>
      </dgm:t>
    </dgm:pt>
    <dgm:pt modelId="{3C85817E-A614-4696-92EC-8FE4A2888A09}" type="parTrans" cxnId="{2E9A44C7-3B79-4C05-B8F3-4E61313B8613}">
      <dgm:prSet/>
      <dgm:spPr/>
      <dgm:t>
        <a:bodyPr/>
        <a:lstStyle/>
        <a:p>
          <a:endParaRPr lang="en-GB"/>
        </a:p>
      </dgm:t>
    </dgm:pt>
    <dgm:pt modelId="{13E63248-42CC-4B92-B214-50B30B4E7E59}" type="sibTrans" cxnId="{2E9A44C7-3B79-4C05-B8F3-4E61313B8613}">
      <dgm:prSet/>
      <dgm:spPr/>
      <dgm:t>
        <a:bodyPr/>
        <a:lstStyle/>
        <a:p>
          <a:endParaRPr lang="en-GB"/>
        </a:p>
      </dgm:t>
    </dgm:pt>
    <dgm:pt modelId="{808FC3EB-E8F7-4766-A8EC-1A2F35E02786}">
      <dgm:prSet/>
      <dgm:spPr/>
      <dgm:t>
        <a:bodyPr/>
        <a:lstStyle/>
        <a:p>
          <a:r>
            <a:rPr lang="en-GB"/>
            <a:t>Supporting delivery partners</a:t>
          </a:r>
        </a:p>
      </dgm:t>
    </dgm:pt>
    <dgm:pt modelId="{07217616-4F35-41AC-B677-85297EA30A12}" type="parTrans" cxnId="{6F356B9E-C5E1-488E-8CCB-FEB8485D4E28}">
      <dgm:prSet/>
      <dgm:spPr/>
      <dgm:t>
        <a:bodyPr/>
        <a:lstStyle/>
        <a:p>
          <a:endParaRPr lang="en-GB"/>
        </a:p>
      </dgm:t>
    </dgm:pt>
    <dgm:pt modelId="{266DE494-6917-4097-B860-D8B7F3E08C19}" type="sibTrans" cxnId="{6F356B9E-C5E1-488E-8CCB-FEB8485D4E28}">
      <dgm:prSet/>
      <dgm:spPr/>
      <dgm:t>
        <a:bodyPr/>
        <a:lstStyle/>
        <a:p>
          <a:endParaRPr lang="en-GB"/>
        </a:p>
      </dgm:t>
    </dgm:pt>
    <dgm:pt modelId="{E2DCA9A9-908E-4A45-8F2B-472845B4816B}">
      <dgm:prSet/>
      <dgm:spPr/>
      <dgm:t>
        <a:bodyPr/>
        <a:lstStyle/>
        <a:p>
          <a:r>
            <a:rPr lang="en-GB" b="1"/>
            <a:t>Improving governance, delivery and funding mechanisms</a:t>
          </a:r>
        </a:p>
      </dgm:t>
    </dgm:pt>
    <dgm:pt modelId="{95504DC7-D3D3-45F1-A649-DCCBB5B22C95}" type="parTrans" cxnId="{8F94AF1D-F5C7-4487-96A5-6C12E29ED26A}">
      <dgm:prSet/>
      <dgm:spPr/>
      <dgm:t>
        <a:bodyPr/>
        <a:lstStyle/>
        <a:p>
          <a:endParaRPr lang="en-GB"/>
        </a:p>
      </dgm:t>
    </dgm:pt>
    <dgm:pt modelId="{22E0D20D-90BD-46B4-A392-200BD98F1873}" type="sibTrans" cxnId="{8F94AF1D-F5C7-4487-96A5-6C12E29ED26A}">
      <dgm:prSet/>
      <dgm:spPr/>
      <dgm:t>
        <a:bodyPr/>
        <a:lstStyle/>
        <a:p>
          <a:endParaRPr lang="en-GB"/>
        </a:p>
      </dgm:t>
    </dgm:pt>
    <dgm:pt modelId="{BFB72F05-7440-4377-9684-E3C1BDD73B1B}" type="pres">
      <dgm:prSet presAssocID="{9692C6C4-FA0B-4E1D-8913-585B3F9412D1}" presName="Name0" presStyleCnt="0">
        <dgm:presLayoutVars>
          <dgm:dir/>
          <dgm:resizeHandles val="exact"/>
        </dgm:presLayoutVars>
      </dgm:prSet>
      <dgm:spPr/>
    </dgm:pt>
    <dgm:pt modelId="{C1047316-83C4-4B04-9F61-99CDA6600947}" type="pres">
      <dgm:prSet presAssocID="{DB8DF7A2-BCC2-4F78-8826-C2B2654B319D}" presName="composite" presStyleCnt="0"/>
      <dgm:spPr/>
    </dgm:pt>
    <dgm:pt modelId="{AE817132-0226-46B2-AFE6-60F530022ED2}" type="pres">
      <dgm:prSet presAssocID="{DB8DF7A2-BCC2-4F78-8826-C2B2654B319D}" presName="rect1" presStyleLbl="trAlignAcc1" presStyleIdx="0" presStyleCnt="6">
        <dgm:presLayoutVars>
          <dgm:bulletEnabled val="1"/>
        </dgm:presLayoutVars>
      </dgm:prSet>
      <dgm:spPr/>
    </dgm:pt>
    <dgm:pt modelId="{A1EAB8FA-C87F-4FA3-A9DB-05CC67B36417}" type="pres">
      <dgm:prSet presAssocID="{DB8DF7A2-BCC2-4F78-8826-C2B2654B319D}" presName="rect2" presStyleLbl="fgImgPlace1" presStyleIdx="0" presStyleCnt="6" custFlipHor="1"/>
      <dgm:spPr>
        <a:blipFill>
          <a:blip xmlns:r="http://schemas.openxmlformats.org/officeDocument/2006/relationships" r:embed="rId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Bar graph with upward trend with solid fill"/>
        </a:ext>
      </dgm:extLst>
    </dgm:pt>
    <dgm:pt modelId="{3CFE10A5-E0EB-41D8-9096-C413BCD61A9F}" type="pres">
      <dgm:prSet presAssocID="{EB5D7492-81A4-45D6-974C-FDE6A1EB1363}" presName="sibTrans" presStyleCnt="0"/>
      <dgm:spPr/>
    </dgm:pt>
    <dgm:pt modelId="{A2A718A6-F4DC-4887-B5EF-CC44DBE78736}" type="pres">
      <dgm:prSet presAssocID="{D713C7E5-6CD1-4C63-AF00-49C2FE4B1DBB}" presName="composite" presStyleCnt="0"/>
      <dgm:spPr/>
    </dgm:pt>
    <dgm:pt modelId="{22F67B05-088A-4A2E-939B-5A6FA47E4136}" type="pres">
      <dgm:prSet presAssocID="{D713C7E5-6CD1-4C63-AF00-49C2FE4B1DBB}" presName="rect1" presStyleLbl="trAlignAcc1" presStyleIdx="1" presStyleCnt="6">
        <dgm:presLayoutVars>
          <dgm:bulletEnabled val="1"/>
        </dgm:presLayoutVars>
      </dgm:prSet>
      <dgm:spPr/>
    </dgm:pt>
    <dgm:pt modelId="{E9C9A28C-3451-4B13-BF6E-6A9B093100B5}" type="pres">
      <dgm:prSet presAssocID="{D713C7E5-6CD1-4C63-AF00-49C2FE4B1DBB}" presName="rect2" presStyleLbl="fgImgPlace1" presStyleIdx="1" presStyleCnt="6"/>
      <dgm:spPr>
        <a:blipFill>
          <a:blip xmlns:r="http://schemas.openxmlformats.org/officeDocument/2006/relationships"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Cycle with people with solid fill"/>
        </a:ext>
      </dgm:extLst>
    </dgm:pt>
    <dgm:pt modelId="{1CB30FB5-DEF8-4A9A-BD78-BD0343FA9126}" type="pres">
      <dgm:prSet presAssocID="{1BE7228A-48EE-4FBC-A2AA-B74B2E9EEFD8}" presName="sibTrans" presStyleCnt="0"/>
      <dgm:spPr/>
    </dgm:pt>
    <dgm:pt modelId="{A5C58A22-6938-4987-A1CE-CFAE2511EBF7}" type="pres">
      <dgm:prSet presAssocID="{AB003474-D221-4EA0-A4BE-72C424115DA5}" presName="composite" presStyleCnt="0"/>
      <dgm:spPr/>
    </dgm:pt>
    <dgm:pt modelId="{A50968F6-CA4D-427A-A127-56C136FCE203}" type="pres">
      <dgm:prSet presAssocID="{AB003474-D221-4EA0-A4BE-72C424115DA5}" presName="rect1" presStyleLbl="trAlignAcc1" presStyleIdx="2" presStyleCnt="6">
        <dgm:presLayoutVars>
          <dgm:bulletEnabled val="1"/>
        </dgm:presLayoutVars>
      </dgm:prSet>
      <dgm:spPr/>
    </dgm:pt>
    <dgm:pt modelId="{C99F4E01-DE36-4DC7-840E-6FF95B0AA193}" type="pres">
      <dgm:prSet presAssocID="{AB003474-D221-4EA0-A4BE-72C424115DA5}" presName="rect2" presStyleLbl="fgImgPlace1" presStyleIdx="2" presStyleCnt="6"/>
      <dgm:spPr>
        <a:blipFill>
          <a:blip xmlns:r="http://schemas.openxmlformats.org/officeDocument/2006/relationships"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Clipboard Ticked with solid fill"/>
        </a:ext>
      </dgm:extLst>
    </dgm:pt>
    <dgm:pt modelId="{206C3947-751A-4BDD-9410-2B3B5CE34429}" type="pres">
      <dgm:prSet presAssocID="{420B6835-428F-4917-976A-144E11889621}" presName="sibTrans" presStyleCnt="0"/>
      <dgm:spPr/>
    </dgm:pt>
    <dgm:pt modelId="{340C00CD-0B41-46C7-AC48-3E4F1361A995}" type="pres">
      <dgm:prSet presAssocID="{AEC01095-2AEB-4C63-883B-350EC2E13091}" presName="composite" presStyleCnt="0"/>
      <dgm:spPr/>
    </dgm:pt>
    <dgm:pt modelId="{6B5AB024-6D5C-4551-B7EA-2E4F1FDC896A}" type="pres">
      <dgm:prSet presAssocID="{AEC01095-2AEB-4C63-883B-350EC2E13091}" presName="rect1" presStyleLbl="trAlignAcc1" presStyleIdx="3" presStyleCnt="6">
        <dgm:presLayoutVars>
          <dgm:bulletEnabled val="1"/>
        </dgm:presLayoutVars>
      </dgm:prSet>
      <dgm:spPr/>
    </dgm:pt>
    <dgm:pt modelId="{B9898FB8-6A16-4FF7-98C8-D3DCAF58905C}" type="pres">
      <dgm:prSet presAssocID="{AEC01095-2AEB-4C63-883B-350EC2E13091}" presName="rect2" presStyleLbl="fgImgPlace1" presStyleIdx="3" presStyleCnt="6"/>
      <dgm:spPr>
        <a:blipFill>
          <a:blip xmlns:r="http://schemas.openxmlformats.org/officeDocument/2006/relationships" r:embed="rId7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Tools"/>
        </a:ext>
      </dgm:extLst>
    </dgm:pt>
    <dgm:pt modelId="{84BB9B30-9080-4C0E-BC99-65DF0861B86A}" type="pres">
      <dgm:prSet presAssocID="{13E63248-42CC-4B92-B214-50B30B4E7E59}" presName="sibTrans" presStyleCnt="0"/>
      <dgm:spPr/>
    </dgm:pt>
    <dgm:pt modelId="{4F3EF304-89EB-41BA-8C86-0744FE34691D}" type="pres">
      <dgm:prSet presAssocID="{808FC3EB-E8F7-4766-A8EC-1A2F35E02786}" presName="composite" presStyleCnt="0"/>
      <dgm:spPr/>
    </dgm:pt>
    <dgm:pt modelId="{21CF340B-8E87-41A4-9C06-41941D1790AF}" type="pres">
      <dgm:prSet presAssocID="{808FC3EB-E8F7-4766-A8EC-1A2F35E02786}" presName="rect1" presStyleLbl="trAlignAcc1" presStyleIdx="4" presStyleCnt="6">
        <dgm:presLayoutVars>
          <dgm:bulletEnabled val="1"/>
        </dgm:presLayoutVars>
      </dgm:prSet>
      <dgm:spPr/>
    </dgm:pt>
    <dgm:pt modelId="{675D0AF2-6212-474D-A202-E79A7F0BC3DA}" type="pres">
      <dgm:prSet presAssocID="{808FC3EB-E8F7-4766-A8EC-1A2F35E02786}" presName="rect2" presStyleLbl="fgImgPlace1" presStyleIdx="4" presStyleCnt="6"/>
      <dgm:spPr>
        <a:blipFill>
          <a:blip xmlns:r="http://schemas.openxmlformats.org/officeDocument/2006/relationships"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Handshake with solid fill"/>
        </a:ext>
      </dgm:extLst>
    </dgm:pt>
    <dgm:pt modelId="{0C710846-8AAA-4A19-B6ED-118FAD638678}" type="pres">
      <dgm:prSet presAssocID="{266DE494-6917-4097-B860-D8B7F3E08C19}" presName="sibTrans" presStyleCnt="0"/>
      <dgm:spPr/>
    </dgm:pt>
    <dgm:pt modelId="{DB6DF787-AD28-4C43-BDFB-9F8988E8E819}" type="pres">
      <dgm:prSet presAssocID="{E2DCA9A9-908E-4A45-8F2B-472845B4816B}" presName="composite" presStyleCnt="0"/>
      <dgm:spPr/>
    </dgm:pt>
    <dgm:pt modelId="{E9B32A92-2A95-44D5-8F5B-147FC8E893C1}" type="pres">
      <dgm:prSet presAssocID="{E2DCA9A9-908E-4A45-8F2B-472845B4816B}" presName="rect1" presStyleLbl="trAlignAcc1" presStyleIdx="5" presStyleCnt="6">
        <dgm:presLayoutVars>
          <dgm:bulletEnabled val="1"/>
        </dgm:presLayoutVars>
      </dgm:prSet>
      <dgm:spPr/>
    </dgm:pt>
    <dgm:pt modelId="{CF5BA004-A1AE-4584-AF5B-9CBF944494F9}" type="pres">
      <dgm:prSet presAssocID="{E2DCA9A9-908E-4A45-8F2B-472845B4816B}" presName="rect2" presStyleLbl="fgImgPlace1" presStyleIdx="5" presStyleCnt="6"/>
      <dgm:spPr>
        <a:blipFill>
          <a:blip xmlns:r="http://schemas.openxmlformats.org/officeDocument/2006/relationships"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</dgm:spPr>
      <dgm:extLst>
        <a:ext uri="{E40237B7-FDA0-4F09-8148-C483321AD2D9}">
          <dgm14:cNvPr xmlns:dgm14="http://schemas.microsoft.com/office/drawing/2010/diagram" id="0" name="" descr="Map compass with solid fill"/>
        </a:ext>
      </dgm:extLst>
    </dgm:pt>
  </dgm:ptLst>
  <dgm:cxnLst>
    <dgm:cxn modelId="{468B2909-F62B-4CC0-9473-3F07953F34E6}" srcId="{9692C6C4-FA0B-4E1D-8913-585B3F9412D1}" destId="{DB8DF7A2-BCC2-4F78-8826-C2B2654B319D}" srcOrd="0" destOrd="0" parTransId="{430810C3-E963-43ED-8E98-5D7E8B59ED12}" sibTransId="{EB5D7492-81A4-45D6-974C-FDE6A1EB1363}"/>
    <dgm:cxn modelId="{8F94AF1D-F5C7-4487-96A5-6C12E29ED26A}" srcId="{9692C6C4-FA0B-4E1D-8913-585B3F9412D1}" destId="{E2DCA9A9-908E-4A45-8F2B-472845B4816B}" srcOrd="5" destOrd="0" parTransId="{95504DC7-D3D3-45F1-A649-DCCBB5B22C95}" sibTransId="{22E0D20D-90BD-46B4-A392-200BD98F1873}"/>
    <dgm:cxn modelId="{3289A34E-7330-4204-9299-5587B8652613}" type="presOf" srcId="{808FC3EB-E8F7-4766-A8EC-1A2F35E02786}" destId="{21CF340B-8E87-41A4-9C06-41941D1790AF}" srcOrd="0" destOrd="0" presId="urn:microsoft.com/office/officeart/2008/layout/PictureStrips"/>
    <dgm:cxn modelId="{DA217F5A-056E-4350-BF5A-D13F384220C6}" type="presOf" srcId="{DB8DF7A2-BCC2-4F78-8826-C2B2654B319D}" destId="{AE817132-0226-46B2-AFE6-60F530022ED2}" srcOrd="0" destOrd="0" presId="urn:microsoft.com/office/officeart/2008/layout/PictureStrips"/>
    <dgm:cxn modelId="{52D61D7B-28C8-4458-B672-6AFAB25B9B4F}" type="presOf" srcId="{AB003474-D221-4EA0-A4BE-72C424115DA5}" destId="{A50968F6-CA4D-427A-A127-56C136FCE203}" srcOrd="0" destOrd="0" presId="urn:microsoft.com/office/officeart/2008/layout/PictureStrips"/>
    <dgm:cxn modelId="{9CDB089A-EF45-4A07-80FA-CCF1BBDC8D9E}" srcId="{9692C6C4-FA0B-4E1D-8913-585B3F9412D1}" destId="{AB003474-D221-4EA0-A4BE-72C424115DA5}" srcOrd="2" destOrd="0" parTransId="{00579693-6FF2-4962-BDC8-4F55C8341E13}" sibTransId="{420B6835-428F-4917-976A-144E11889621}"/>
    <dgm:cxn modelId="{6F356B9E-C5E1-488E-8CCB-FEB8485D4E28}" srcId="{9692C6C4-FA0B-4E1D-8913-585B3F9412D1}" destId="{808FC3EB-E8F7-4766-A8EC-1A2F35E02786}" srcOrd="4" destOrd="0" parTransId="{07217616-4F35-41AC-B677-85297EA30A12}" sibTransId="{266DE494-6917-4097-B860-D8B7F3E08C19}"/>
    <dgm:cxn modelId="{62F82EAE-EB79-4C9F-B6AC-EA7C8FCA0C81}" type="presOf" srcId="{E2DCA9A9-908E-4A45-8F2B-472845B4816B}" destId="{E9B32A92-2A95-44D5-8F5B-147FC8E893C1}" srcOrd="0" destOrd="0" presId="urn:microsoft.com/office/officeart/2008/layout/PictureStrips"/>
    <dgm:cxn modelId="{106E81C0-6B96-47D0-96B3-545E8E5EFC4E}" srcId="{9692C6C4-FA0B-4E1D-8913-585B3F9412D1}" destId="{D713C7E5-6CD1-4C63-AF00-49C2FE4B1DBB}" srcOrd="1" destOrd="0" parTransId="{AB52F23D-BD78-4A15-812A-E3BD6B8AE1F6}" sibTransId="{1BE7228A-48EE-4FBC-A2AA-B74B2E9EEFD8}"/>
    <dgm:cxn modelId="{2E9A44C7-3B79-4C05-B8F3-4E61313B8613}" srcId="{9692C6C4-FA0B-4E1D-8913-585B3F9412D1}" destId="{AEC01095-2AEB-4C63-883B-350EC2E13091}" srcOrd="3" destOrd="0" parTransId="{3C85817E-A614-4696-92EC-8FE4A2888A09}" sibTransId="{13E63248-42CC-4B92-B214-50B30B4E7E59}"/>
    <dgm:cxn modelId="{CB3A62D3-19B9-4D9B-9689-5763664C59D6}" type="presOf" srcId="{9692C6C4-FA0B-4E1D-8913-585B3F9412D1}" destId="{BFB72F05-7440-4377-9684-E3C1BDD73B1B}" srcOrd="0" destOrd="0" presId="urn:microsoft.com/office/officeart/2008/layout/PictureStrips"/>
    <dgm:cxn modelId="{456B60D9-EFE1-4612-A25A-04EACC8C75E3}" type="presOf" srcId="{D713C7E5-6CD1-4C63-AF00-49C2FE4B1DBB}" destId="{22F67B05-088A-4A2E-939B-5A6FA47E4136}" srcOrd="0" destOrd="0" presId="urn:microsoft.com/office/officeart/2008/layout/PictureStrips"/>
    <dgm:cxn modelId="{DE99A0F8-9BE6-4DDD-A6CB-97B64D66730A}" type="presOf" srcId="{AEC01095-2AEB-4C63-883B-350EC2E13091}" destId="{6B5AB024-6D5C-4551-B7EA-2E4F1FDC896A}" srcOrd="0" destOrd="0" presId="urn:microsoft.com/office/officeart/2008/layout/PictureStrips"/>
    <dgm:cxn modelId="{8251B4E0-20AF-439A-B6D1-CCC4B753DF28}" type="presParOf" srcId="{BFB72F05-7440-4377-9684-E3C1BDD73B1B}" destId="{C1047316-83C4-4B04-9F61-99CDA6600947}" srcOrd="0" destOrd="0" presId="urn:microsoft.com/office/officeart/2008/layout/PictureStrips"/>
    <dgm:cxn modelId="{EE05C77F-24B6-4CFF-B284-FBA266856451}" type="presParOf" srcId="{C1047316-83C4-4B04-9F61-99CDA6600947}" destId="{AE817132-0226-46B2-AFE6-60F530022ED2}" srcOrd="0" destOrd="0" presId="urn:microsoft.com/office/officeart/2008/layout/PictureStrips"/>
    <dgm:cxn modelId="{DB638360-72A8-4A49-8F7F-7E859A781C1A}" type="presParOf" srcId="{C1047316-83C4-4B04-9F61-99CDA6600947}" destId="{A1EAB8FA-C87F-4FA3-A9DB-05CC67B36417}" srcOrd="1" destOrd="0" presId="urn:microsoft.com/office/officeart/2008/layout/PictureStrips"/>
    <dgm:cxn modelId="{7CD5B323-DC40-474A-A103-7426774B0A9E}" type="presParOf" srcId="{BFB72F05-7440-4377-9684-E3C1BDD73B1B}" destId="{3CFE10A5-E0EB-41D8-9096-C413BCD61A9F}" srcOrd="1" destOrd="0" presId="urn:microsoft.com/office/officeart/2008/layout/PictureStrips"/>
    <dgm:cxn modelId="{A2FC71C8-1C6B-4D13-B9DE-455C5157BCAF}" type="presParOf" srcId="{BFB72F05-7440-4377-9684-E3C1BDD73B1B}" destId="{A2A718A6-F4DC-4887-B5EF-CC44DBE78736}" srcOrd="2" destOrd="0" presId="urn:microsoft.com/office/officeart/2008/layout/PictureStrips"/>
    <dgm:cxn modelId="{C6B3ABBE-572B-4D74-8B42-76A30C9410D9}" type="presParOf" srcId="{A2A718A6-F4DC-4887-B5EF-CC44DBE78736}" destId="{22F67B05-088A-4A2E-939B-5A6FA47E4136}" srcOrd="0" destOrd="0" presId="urn:microsoft.com/office/officeart/2008/layout/PictureStrips"/>
    <dgm:cxn modelId="{DF2DEB5E-813E-4C3B-B4C3-82EE7E1A05F2}" type="presParOf" srcId="{A2A718A6-F4DC-4887-B5EF-CC44DBE78736}" destId="{E9C9A28C-3451-4B13-BF6E-6A9B093100B5}" srcOrd="1" destOrd="0" presId="urn:microsoft.com/office/officeart/2008/layout/PictureStrips"/>
    <dgm:cxn modelId="{FA67F51E-7BEC-4961-8138-1DDA0229CD5F}" type="presParOf" srcId="{BFB72F05-7440-4377-9684-E3C1BDD73B1B}" destId="{1CB30FB5-DEF8-4A9A-BD78-BD0343FA9126}" srcOrd="3" destOrd="0" presId="urn:microsoft.com/office/officeart/2008/layout/PictureStrips"/>
    <dgm:cxn modelId="{4B01BDED-97BD-4A2F-BF45-F0EB33F0D6C3}" type="presParOf" srcId="{BFB72F05-7440-4377-9684-E3C1BDD73B1B}" destId="{A5C58A22-6938-4987-A1CE-CFAE2511EBF7}" srcOrd="4" destOrd="0" presId="urn:microsoft.com/office/officeart/2008/layout/PictureStrips"/>
    <dgm:cxn modelId="{660A0FDC-79A4-44C8-ABCA-D1F97DC57092}" type="presParOf" srcId="{A5C58A22-6938-4987-A1CE-CFAE2511EBF7}" destId="{A50968F6-CA4D-427A-A127-56C136FCE203}" srcOrd="0" destOrd="0" presId="urn:microsoft.com/office/officeart/2008/layout/PictureStrips"/>
    <dgm:cxn modelId="{64D71DA1-E8DC-4850-9C5C-067884417E80}" type="presParOf" srcId="{A5C58A22-6938-4987-A1CE-CFAE2511EBF7}" destId="{C99F4E01-DE36-4DC7-840E-6FF95B0AA193}" srcOrd="1" destOrd="0" presId="urn:microsoft.com/office/officeart/2008/layout/PictureStrips"/>
    <dgm:cxn modelId="{32D89952-E414-407D-AB71-B28A309F60BF}" type="presParOf" srcId="{BFB72F05-7440-4377-9684-E3C1BDD73B1B}" destId="{206C3947-751A-4BDD-9410-2B3B5CE34429}" srcOrd="5" destOrd="0" presId="urn:microsoft.com/office/officeart/2008/layout/PictureStrips"/>
    <dgm:cxn modelId="{41BEDFE9-20E0-456B-998A-8657F5AF803B}" type="presParOf" srcId="{BFB72F05-7440-4377-9684-E3C1BDD73B1B}" destId="{340C00CD-0B41-46C7-AC48-3E4F1361A995}" srcOrd="6" destOrd="0" presId="urn:microsoft.com/office/officeart/2008/layout/PictureStrips"/>
    <dgm:cxn modelId="{3B51501F-8BC7-4556-A1B3-5F06CA69A3E2}" type="presParOf" srcId="{340C00CD-0B41-46C7-AC48-3E4F1361A995}" destId="{6B5AB024-6D5C-4551-B7EA-2E4F1FDC896A}" srcOrd="0" destOrd="0" presId="urn:microsoft.com/office/officeart/2008/layout/PictureStrips"/>
    <dgm:cxn modelId="{2BFA9A19-D250-45A0-A546-D2A24B2E4414}" type="presParOf" srcId="{340C00CD-0B41-46C7-AC48-3E4F1361A995}" destId="{B9898FB8-6A16-4FF7-98C8-D3DCAF58905C}" srcOrd="1" destOrd="0" presId="urn:microsoft.com/office/officeart/2008/layout/PictureStrips"/>
    <dgm:cxn modelId="{BF061234-2803-4AB6-8CC5-DDB6C5B6F050}" type="presParOf" srcId="{BFB72F05-7440-4377-9684-E3C1BDD73B1B}" destId="{84BB9B30-9080-4C0E-BC99-65DF0861B86A}" srcOrd="7" destOrd="0" presId="urn:microsoft.com/office/officeart/2008/layout/PictureStrips"/>
    <dgm:cxn modelId="{19E2D1FF-C33F-46EA-9384-9191D0F4DA02}" type="presParOf" srcId="{BFB72F05-7440-4377-9684-E3C1BDD73B1B}" destId="{4F3EF304-89EB-41BA-8C86-0744FE34691D}" srcOrd="8" destOrd="0" presId="urn:microsoft.com/office/officeart/2008/layout/PictureStrips"/>
    <dgm:cxn modelId="{3B72A6CD-A1C8-4B9B-AD2F-D877A3BEC67B}" type="presParOf" srcId="{4F3EF304-89EB-41BA-8C86-0744FE34691D}" destId="{21CF340B-8E87-41A4-9C06-41941D1790AF}" srcOrd="0" destOrd="0" presId="urn:microsoft.com/office/officeart/2008/layout/PictureStrips"/>
    <dgm:cxn modelId="{E4B957CE-2FBA-4251-A980-207B855AFC49}" type="presParOf" srcId="{4F3EF304-89EB-41BA-8C86-0744FE34691D}" destId="{675D0AF2-6212-474D-A202-E79A7F0BC3DA}" srcOrd="1" destOrd="0" presId="urn:microsoft.com/office/officeart/2008/layout/PictureStrips"/>
    <dgm:cxn modelId="{9708530C-364A-4B4B-8429-16EA609A303B}" type="presParOf" srcId="{BFB72F05-7440-4377-9684-E3C1BDD73B1B}" destId="{0C710846-8AAA-4A19-B6ED-118FAD638678}" srcOrd="9" destOrd="0" presId="urn:microsoft.com/office/officeart/2008/layout/PictureStrips"/>
    <dgm:cxn modelId="{7A988A17-D131-44A0-B683-BD7F6792EB19}" type="presParOf" srcId="{BFB72F05-7440-4377-9684-E3C1BDD73B1B}" destId="{DB6DF787-AD28-4C43-BDFB-9F8988E8E819}" srcOrd="10" destOrd="0" presId="urn:microsoft.com/office/officeart/2008/layout/PictureStrips"/>
    <dgm:cxn modelId="{FB028985-D0E5-4A3A-87A8-49BBBE0644C1}" type="presParOf" srcId="{DB6DF787-AD28-4C43-BDFB-9F8988E8E819}" destId="{E9B32A92-2A95-44D5-8F5B-147FC8E893C1}" srcOrd="0" destOrd="0" presId="urn:microsoft.com/office/officeart/2008/layout/PictureStrips"/>
    <dgm:cxn modelId="{CB6D56CC-1E88-4659-AACC-915EE9763394}" type="presParOf" srcId="{DB6DF787-AD28-4C43-BDFB-9F8988E8E819}" destId="{CF5BA004-A1AE-4584-AF5B-9CBF944494F9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8AD9D6-BDD4-45D9-B2C4-AD9D352DD6DD}">
      <dsp:nvSpPr>
        <dsp:cNvPr id="0" name=""/>
        <dsp:cNvSpPr/>
      </dsp:nvSpPr>
      <dsp:spPr>
        <a:xfrm rot="5400000">
          <a:off x="3234041" y="118032"/>
          <a:ext cx="1782068" cy="155039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Increasing flood exposure</a:t>
          </a:r>
        </a:p>
      </dsp:txBody>
      <dsp:txXfrm rot="-5400000">
        <a:off x="3591479" y="279904"/>
        <a:ext cx="1067191" cy="1226656"/>
      </dsp:txXfrm>
    </dsp:sp>
    <dsp:sp modelId="{92F3CD8B-1FAE-4A3E-B73C-B0472C4D896F}">
      <dsp:nvSpPr>
        <dsp:cNvPr id="0" name=""/>
        <dsp:cNvSpPr/>
      </dsp:nvSpPr>
      <dsp:spPr>
        <a:xfrm>
          <a:off x="4947321" y="358612"/>
          <a:ext cx="1988788" cy="10692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4347AD-37E7-46EE-9E3D-5D27203F0516}">
      <dsp:nvSpPr>
        <dsp:cNvPr id="0" name=""/>
        <dsp:cNvSpPr/>
      </dsp:nvSpPr>
      <dsp:spPr>
        <a:xfrm rot="5400000">
          <a:off x="1559609" y="148007"/>
          <a:ext cx="1782068" cy="155039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solidFill>
                <a:prstClr val="white"/>
              </a:solidFill>
              <a:latin typeface="Arial"/>
              <a:ea typeface="+mn-ea"/>
              <a:cs typeface="+mn-cs"/>
            </a:rPr>
            <a:t>Our climate is changing</a:t>
          </a:r>
        </a:p>
      </dsp:txBody>
      <dsp:txXfrm rot="-5400000">
        <a:off x="1917047" y="309879"/>
        <a:ext cx="1067191" cy="1226656"/>
      </dsp:txXfrm>
    </dsp:sp>
    <dsp:sp modelId="{C042981C-282E-4BB9-8265-FC727FE8CE3D}">
      <dsp:nvSpPr>
        <dsp:cNvPr id="0" name=""/>
        <dsp:cNvSpPr/>
      </dsp:nvSpPr>
      <dsp:spPr>
        <a:xfrm rot="5400000">
          <a:off x="2393617" y="1630652"/>
          <a:ext cx="1782068" cy="155039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Not delivering actions fast enough</a:t>
          </a:r>
        </a:p>
      </dsp:txBody>
      <dsp:txXfrm rot="-5400000">
        <a:off x="2751055" y="1792524"/>
        <a:ext cx="1067191" cy="1226656"/>
      </dsp:txXfrm>
    </dsp:sp>
    <dsp:sp modelId="{DC72E124-3037-47AF-B92E-D3ADFFBEDDE0}">
      <dsp:nvSpPr>
        <dsp:cNvPr id="0" name=""/>
        <dsp:cNvSpPr/>
      </dsp:nvSpPr>
      <dsp:spPr>
        <a:xfrm>
          <a:off x="520663" y="1871231"/>
          <a:ext cx="1924634" cy="10692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DCBFFE-EDC5-48B0-95A4-AC7F2AA2A8C6}">
      <dsp:nvSpPr>
        <dsp:cNvPr id="0" name=""/>
        <dsp:cNvSpPr/>
      </dsp:nvSpPr>
      <dsp:spPr>
        <a:xfrm rot="5400000">
          <a:off x="4068049" y="1630652"/>
          <a:ext cx="1782068" cy="155039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solidFill>
                <a:prstClr val="white"/>
              </a:solidFill>
              <a:latin typeface="Arial"/>
              <a:ea typeface="+mn-ea"/>
              <a:cs typeface="+mn-cs"/>
            </a:rPr>
            <a:t>Limited range of actions</a:t>
          </a:r>
        </a:p>
      </dsp:txBody>
      <dsp:txXfrm rot="-5400000">
        <a:off x="4425487" y="1792524"/>
        <a:ext cx="1067191" cy="1226656"/>
      </dsp:txXfrm>
    </dsp:sp>
    <dsp:sp modelId="{95417C40-8E92-423C-A8F2-E16ED819D281}">
      <dsp:nvSpPr>
        <dsp:cNvPr id="0" name=""/>
        <dsp:cNvSpPr/>
      </dsp:nvSpPr>
      <dsp:spPr>
        <a:xfrm rot="5400000">
          <a:off x="3234041" y="3143272"/>
          <a:ext cx="1782068" cy="155039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/>
            <a:t>Increasing challenge for future generations</a:t>
          </a:r>
        </a:p>
      </dsp:txBody>
      <dsp:txXfrm rot="-5400000">
        <a:off x="3591479" y="3305144"/>
        <a:ext cx="1067191" cy="1226656"/>
      </dsp:txXfrm>
    </dsp:sp>
    <dsp:sp modelId="{4C0655B7-7C0D-4CD5-866B-F05F22F06D43}">
      <dsp:nvSpPr>
        <dsp:cNvPr id="0" name=""/>
        <dsp:cNvSpPr/>
      </dsp:nvSpPr>
      <dsp:spPr>
        <a:xfrm>
          <a:off x="4947321" y="3383851"/>
          <a:ext cx="1988788" cy="10692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C520A7-FEE2-41DC-93A7-649A1ED0611B}">
      <dsp:nvSpPr>
        <dsp:cNvPr id="0" name=""/>
        <dsp:cNvSpPr/>
      </dsp:nvSpPr>
      <dsp:spPr>
        <a:xfrm rot="5400000">
          <a:off x="1559609" y="3143272"/>
          <a:ext cx="1782068" cy="1550399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solidFill>
                <a:prstClr val="white"/>
              </a:solidFill>
              <a:latin typeface="Arial"/>
              <a:ea typeface="+mn-ea"/>
              <a:cs typeface="+mn-cs"/>
            </a:rPr>
            <a:t>Limited range of players</a:t>
          </a:r>
        </a:p>
      </dsp:txBody>
      <dsp:txXfrm rot="-5400000">
        <a:off x="1917047" y="3305144"/>
        <a:ext cx="1067191" cy="12266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3C89B2-FC34-4107-A652-DBD5F118B954}">
      <dsp:nvSpPr>
        <dsp:cNvPr id="0" name=""/>
        <dsp:cNvSpPr/>
      </dsp:nvSpPr>
      <dsp:spPr>
        <a:xfrm>
          <a:off x="0" y="913341"/>
          <a:ext cx="6588125" cy="2635250"/>
        </a:xfrm>
        <a:prstGeom prst="right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314726-0280-45BF-BB63-C4212E122081}">
      <dsp:nvSpPr>
        <dsp:cNvPr id="0" name=""/>
        <dsp:cNvSpPr/>
      </dsp:nvSpPr>
      <dsp:spPr>
        <a:xfrm>
          <a:off x="4341793" y="1572154"/>
          <a:ext cx="1587519" cy="1317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3520" rIns="0" bIns="2235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/>
            <a:t>Direction setting</a:t>
          </a:r>
        </a:p>
      </dsp:txBody>
      <dsp:txXfrm>
        <a:off x="4341793" y="1572154"/>
        <a:ext cx="1587519" cy="1317625"/>
      </dsp:txXfrm>
    </dsp:sp>
    <dsp:sp modelId="{4B678D8A-3D05-439D-9A08-D5780D6D233E}">
      <dsp:nvSpPr>
        <dsp:cNvPr id="0" name=""/>
        <dsp:cNvSpPr/>
      </dsp:nvSpPr>
      <dsp:spPr>
        <a:xfrm>
          <a:off x="2436769" y="1572154"/>
          <a:ext cx="1587519" cy="1317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3520" rIns="0" bIns="2235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/>
            <a:t>What needs to change… </a:t>
          </a:r>
        </a:p>
      </dsp:txBody>
      <dsp:txXfrm>
        <a:off x="2436769" y="1572154"/>
        <a:ext cx="1587519" cy="1317625"/>
      </dsp:txXfrm>
    </dsp:sp>
    <dsp:sp modelId="{C5300BD4-FAED-4DE3-AA12-AB95500250AA}">
      <dsp:nvSpPr>
        <dsp:cNvPr id="0" name=""/>
        <dsp:cNvSpPr/>
      </dsp:nvSpPr>
      <dsp:spPr>
        <a:xfrm>
          <a:off x="531746" y="1572154"/>
          <a:ext cx="1587519" cy="13176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3520" rIns="0" bIns="2235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/>
            <a:t>Thinking to 2045 and beyond… </a:t>
          </a:r>
        </a:p>
      </dsp:txBody>
      <dsp:txXfrm>
        <a:off x="531746" y="1572154"/>
        <a:ext cx="1587519" cy="131762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EA747C-F2DA-43E1-8084-CF8AA956BAE7}">
      <dsp:nvSpPr>
        <dsp:cNvPr id="0" name=""/>
        <dsp:cNvSpPr/>
      </dsp:nvSpPr>
      <dsp:spPr>
        <a:xfrm>
          <a:off x="0" y="443"/>
          <a:ext cx="8275012" cy="1038011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DE4FE3-7B60-4478-89DA-CEFB400338F2}">
      <dsp:nvSpPr>
        <dsp:cNvPr id="0" name=""/>
        <dsp:cNvSpPr/>
      </dsp:nvSpPr>
      <dsp:spPr>
        <a:xfrm>
          <a:off x="313998" y="233996"/>
          <a:ext cx="570906" cy="57090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B2A2CD-8B28-4205-B37D-CDCDFA27E4F5}">
      <dsp:nvSpPr>
        <dsp:cNvPr id="0" name=""/>
        <dsp:cNvSpPr/>
      </dsp:nvSpPr>
      <dsp:spPr>
        <a:xfrm>
          <a:off x="1198903" y="443"/>
          <a:ext cx="7076108" cy="1038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56" tIns="109856" rIns="109856" bIns="109856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/>
            <a:t>To change our approach from “fixing flooding problems” to creating flood resilient places</a:t>
          </a:r>
          <a:endParaRPr lang="en-US" sz="2500" kern="1200"/>
        </a:p>
      </dsp:txBody>
      <dsp:txXfrm>
        <a:off x="1198903" y="443"/>
        <a:ext cx="7076108" cy="1038011"/>
      </dsp:txXfrm>
    </dsp:sp>
    <dsp:sp modelId="{672C1EDA-B44C-44E8-A6A8-740A3340D6ED}">
      <dsp:nvSpPr>
        <dsp:cNvPr id="0" name=""/>
        <dsp:cNvSpPr/>
      </dsp:nvSpPr>
      <dsp:spPr>
        <a:xfrm>
          <a:off x="0" y="1297957"/>
          <a:ext cx="8275012" cy="1038011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A9BC42-1401-4981-A2F2-C1882C012F56}">
      <dsp:nvSpPr>
        <dsp:cNvPr id="0" name=""/>
        <dsp:cNvSpPr/>
      </dsp:nvSpPr>
      <dsp:spPr>
        <a:xfrm>
          <a:off x="313998" y="1531510"/>
          <a:ext cx="570906" cy="57090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CA336E-3BA5-47DE-B546-DB3455267E51}">
      <dsp:nvSpPr>
        <dsp:cNvPr id="0" name=""/>
        <dsp:cNvSpPr/>
      </dsp:nvSpPr>
      <dsp:spPr>
        <a:xfrm>
          <a:off x="1198903" y="1297957"/>
          <a:ext cx="7076108" cy="1038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56" tIns="109856" rIns="109856" bIns="109856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0" i="0" kern="1200"/>
            <a:t>To lay-out the principles we must follow to improve flood resilience in the period ahead</a:t>
          </a:r>
          <a:endParaRPr lang="en-US" sz="2500" kern="1200"/>
        </a:p>
      </dsp:txBody>
      <dsp:txXfrm>
        <a:off x="1198903" y="1297957"/>
        <a:ext cx="7076108" cy="1038011"/>
      </dsp:txXfrm>
    </dsp:sp>
    <dsp:sp modelId="{0EBC8F8D-C63A-4A95-AA9C-EC4E99A2EE25}">
      <dsp:nvSpPr>
        <dsp:cNvPr id="0" name=""/>
        <dsp:cNvSpPr/>
      </dsp:nvSpPr>
      <dsp:spPr>
        <a:xfrm>
          <a:off x="0" y="2567767"/>
          <a:ext cx="8275012" cy="1038011"/>
        </a:xfrm>
        <a:prstGeom prst="roundRect">
          <a:avLst>
            <a:gd name="adj" fmla="val 10000"/>
          </a:avLst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E9F281-42E3-4E4B-A22E-3883AB2FD0B7}">
      <dsp:nvSpPr>
        <dsp:cNvPr id="0" name=""/>
        <dsp:cNvSpPr/>
      </dsp:nvSpPr>
      <dsp:spPr>
        <a:xfrm>
          <a:off x="313998" y="2829024"/>
          <a:ext cx="570906" cy="57090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E8AB6C-4910-4D89-BF5B-6DEE4CAEE976}">
      <dsp:nvSpPr>
        <dsp:cNvPr id="0" name=""/>
        <dsp:cNvSpPr/>
      </dsp:nvSpPr>
      <dsp:spPr>
        <a:xfrm>
          <a:off x="1115475" y="2577005"/>
          <a:ext cx="7076108" cy="1038011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9856" tIns="109856" rIns="109856" bIns="109856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/>
            <a:t>To set out the strategic level changes that we need to make</a:t>
          </a:r>
          <a:endParaRPr lang="en-US" sz="2500" kern="1200"/>
        </a:p>
      </dsp:txBody>
      <dsp:txXfrm>
        <a:off x="1115475" y="2577005"/>
        <a:ext cx="7076108" cy="10380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D26CE8-1C89-42F3-AC3A-D1F53FD7CDCF}">
      <dsp:nvSpPr>
        <dsp:cNvPr id="0" name=""/>
        <dsp:cNvSpPr/>
      </dsp:nvSpPr>
      <dsp:spPr>
        <a:xfrm>
          <a:off x="1485611" y="1621387"/>
          <a:ext cx="2880846" cy="288098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b="1" kern="1200">
            <a:solidFill>
              <a:schemeClr val="tx1"/>
            </a:solidFill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kern="1200">
              <a:solidFill>
                <a:schemeClr val="tx1"/>
              </a:solidFill>
            </a:rPr>
            <a:t>People and places are prepared for increased flooding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0" kern="1200">
              <a:solidFill>
                <a:schemeClr val="tx1"/>
              </a:solidFill>
            </a:rPr>
            <a:t>-We are adapting to a changing climate, creating sustainable resilient places in ways that are inclusive and fair</a:t>
          </a:r>
          <a:endParaRPr lang="en-GB" sz="1400" b="0" kern="1200">
            <a:solidFill>
              <a:schemeClr val="tx1"/>
            </a:solidFill>
          </a:endParaRPr>
        </a:p>
      </dsp:txBody>
      <dsp:txXfrm>
        <a:off x="1907501" y="2043298"/>
        <a:ext cx="2037066" cy="2037167"/>
      </dsp:txXfrm>
    </dsp:sp>
    <dsp:sp modelId="{98380FFB-06C3-4A16-AC87-43A5D139683E}">
      <dsp:nvSpPr>
        <dsp:cNvPr id="0" name=""/>
        <dsp:cNvSpPr/>
      </dsp:nvSpPr>
      <dsp:spPr>
        <a:xfrm>
          <a:off x="0" y="19559"/>
          <a:ext cx="5807312" cy="6053770"/>
        </a:xfrm>
        <a:prstGeom prst="blockArc">
          <a:avLst>
            <a:gd name="adj1" fmla="val 17527788"/>
            <a:gd name="adj2" fmla="val 4119114"/>
            <a:gd name="adj3" fmla="val 575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65A61B-AFB8-485B-B93A-900E92D19549}">
      <dsp:nvSpPr>
        <dsp:cNvPr id="0" name=""/>
        <dsp:cNvSpPr/>
      </dsp:nvSpPr>
      <dsp:spPr>
        <a:xfrm>
          <a:off x="4276082" y="562681"/>
          <a:ext cx="1543280" cy="1543711"/>
        </a:xfrm>
        <a:prstGeom prst="ellipse">
          <a:avLst/>
        </a:prstGeom>
        <a:blipFill dpi="0" rotWithShape="1">
          <a:blip xmlns:r="http://schemas.openxmlformats.org/officeDocument/2006/relationships" r:embed="rId1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FC9A83-1541-485E-B354-345E2FEFA5E8}">
      <dsp:nvSpPr>
        <dsp:cNvPr id="0" name=""/>
        <dsp:cNvSpPr/>
      </dsp:nvSpPr>
      <dsp:spPr>
        <a:xfrm>
          <a:off x="5936421" y="554713"/>
          <a:ext cx="2065740" cy="149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GB" sz="1300" b="1" kern="1200"/>
            <a:t>People -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GB" sz="1300" kern="1200"/>
            <a:t>Creating flood resilient places involves our people and communities.</a:t>
          </a:r>
        </a:p>
      </dsp:txBody>
      <dsp:txXfrm>
        <a:off x="5936421" y="554713"/>
        <a:ext cx="2065740" cy="1494070"/>
      </dsp:txXfrm>
    </dsp:sp>
    <dsp:sp modelId="{FF964803-948B-4667-9B43-02AE2490F76E}">
      <dsp:nvSpPr>
        <dsp:cNvPr id="0" name=""/>
        <dsp:cNvSpPr/>
      </dsp:nvSpPr>
      <dsp:spPr>
        <a:xfrm>
          <a:off x="4872564" y="2286091"/>
          <a:ext cx="1543280" cy="1543711"/>
        </a:xfrm>
        <a:prstGeom prst="ellipse">
          <a:avLst/>
        </a:prstGeom>
        <a:blipFill>
          <a:blip xmlns:r="http://schemas.openxmlformats.org/officeDocument/2006/relationships" r:embed="rId3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389719-B223-4AF7-ABA4-C9F7527CF429}">
      <dsp:nvSpPr>
        <dsp:cNvPr id="0" name=""/>
        <dsp:cNvSpPr/>
      </dsp:nvSpPr>
      <dsp:spPr>
        <a:xfrm>
          <a:off x="6541510" y="2307884"/>
          <a:ext cx="2065740" cy="149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GB" sz="1300" b="1" kern="1200"/>
            <a:t>Places -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GB" sz="1300" kern="1200"/>
            <a:t>Land management and placemaking decisions follow good practise for flood resilience.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endParaRPr lang="en-GB" sz="1300" kern="120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endParaRPr lang="en-GB" sz="1300" kern="1200"/>
        </a:p>
      </dsp:txBody>
      <dsp:txXfrm>
        <a:off x="6541510" y="2307884"/>
        <a:ext cx="2065740" cy="1494070"/>
      </dsp:txXfrm>
    </dsp:sp>
    <dsp:sp modelId="{E390CB2E-F4B6-4A73-B5B8-21BE9650E106}">
      <dsp:nvSpPr>
        <dsp:cNvPr id="0" name=""/>
        <dsp:cNvSpPr/>
      </dsp:nvSpPr>
      <dsp:spPr>
        <a:xfrm>
          <a:off x="4276082" y="4067110"/>
          <a:ext cx="1543280" cy="1543711"/>
        </a:xfrm>
        <a:prstGeom prst="ellipse">
          <a:avLst/>
        </a:prstGeom>
        <a:blipFill>
          <a:blip xmlns:r="http://schemas.openxmlformats.org/officeDocument/2006/relationships" r:embed="rId5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AE654F-2B38-4B6A-B50F-FB856A579943}">
      <dsp:nvSpPr>
        <dsp:cNvPr id="0" name=""/>
        <dsp:cNvSpPr/>
      </dsp:nvSpPr>
      <dsp:spPr>
        <a:xfrm>
          <a:off x="5936421" y="4098590"/>
          <a:ext cx="2065740" cy="14940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GB" sz="1300" b="1" kern="1200"/>
            <a:t>Processes - 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r>
            <a:rPr lang="en-GB" sz="1300" kern="1200"/>
            <a:t>Flood resilience is blended into our places at all scales. A broader range of actions are being delivered by a broader range of delivery partners.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10000"/>
            </a:spcAft>
            <a:buNone/>
          </a:pPr>
          <a:endParaRPr lang="en-GB" sz="1300" kern="1200"/>
        </a:p>
      </dsp:txBody>
      <dsp:txXfrm>
        <a:off x="5936421" y="4098590"/>
        <a:ext cx="2065740" cy="149407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82736B-51F2-455E-B276-9C9447F9ACE6}">
      <dsp:nvSpPr>
        <dsp:cNvPr id="0" name=""/>
        <dsp:cNvSpPr/>
      </dsp:nvSpPr>
      <dsp:spPr>
        <a:xfrm>
          <a:off x="1744975" y="208666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b="1" kern="1200"/>
            <a:t>Developing community flood resilience as part of climate adaptation</a:t>
          </a:r>
        </a:p>
      </dsp:txBody>
      <dsp:txXfrm>
        <a:off x="1744975" y="208666"/>
        <a:ext cx="2992275" cy="935086"/>
      </dsp:txXfrm>
    </dsp:sp>
    <dsp:sp modelId="{8D0EB408-265C-43EB-8747-4B38FF37CDE7}">
      <dsp:nvSpPr>
        <dsp:cNvPr id="0" name=""/>
        <dsp:cNvSpPr/>
      </dsp:nvSpPr>
      <dsp:spPr>
        <a:xfrm>
          <a:off x="1620297" y="73598"/>
          <a:ext cx="654560" cy="981840"/>
        </a:xfrm>
        <a:prstGeom prst="rect">
          <a:avLst/>
        </a:prstGeom>
        <a:blipFill>
          <a:blip xmlns:r="http://schemas.openxmlformats.org/officeDocument/2006/relationships" r:embed="rId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48BBEF-98F0-4140-B94F-94DDB13F106C}">
      <dsp:nvSpPr>
        <dsp:cNvPr id="0" name=""/>
        <dsp:cNvSpPr/>
      </dsp:nvSpPr>
      <dsp:spPr>
        <a:xfrm>
          <a:off x="5015664" y="208666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b="1" kern="1200"/>
            <a:t>Involving people in the design of their places</a:t>
          </a:r>
        </a:p>
      </dsp:txBody>
      <dsp:txXfrm>
        <a:off x="5015664" y="208666"/>
        <a:ext cx="2992275" cy="935086"/>
      </dsp:txXfrm>
    </dsp:sp>
    <dsp:sp modelId="{CF96E06E-FCB5-4F55-8828-F2940B689BA2}">
      <dsp:nvSpPr>
        <dsp:cNvPr id="0" name=""/>
        <dsp:cNvSpPr/>
      </dsp:nvSpPr>
      <dsp:spPr>
        <a:xfrm>
          <a:off x="4890986" y="73598"/>
          <a:ext cx="654560" cy="981840"/>
        </a:xfrm>
        <a:prstGeom prst="rect">
          <a:avLst/>
        </a:prstGeom>
        <a:blipFill>
          <a:blip xmlns:r="http://schemas.openxmlformats.org/officeDocument/2006/relationships"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7DD8FC-816E-41BA-B75D-6912D9831C6F}">
      <dsp:nvSpPr>
        <dsp:cNvPr id="0" name=""/>
        <dsp:cNvSpPr/>
      </dsp:nvSpPr>
      <dsp:spPr>
        <a:xfrm>
          <a:off x="1744975" y="1385836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Helping them understand their flood exposure and how that may change through time</a:t>
          </a:r>
        </a:p>
      </dsp:txBody>
      <dsp:txXfrm>
        <a:off x="1744975" y="1385836"/>
        <a:ext cx="2992275" cy="935086"/>
      </dsp:txXfrm>
    </dsp:sp>
    <dsp:sp modelId="{FEA765A9-C07F-42CE-A6AE-69DD8D1E718E}">
      <dsp:nvSpPr>
        <dsp:cNvPr id="0" name=""/>
        <dsp:cNvSpPr/>
      </dsp:nvSpPr>
      <dsp:spPr>
        <a:xfrm>
          <a:off x="1620297" y="1250768"/>
          <a:ext cx="654560" cy="981840"/>
        </a:xfrm>
        <a:prstGeom prst="rect">
          <a:avLst/>
        </a:prstGeom>
        <a:blipFill>
          <a:blip xmlns:r="http://schemas.openxmlformats.org/officeDocument/2006/relationships"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3DDC2F-2BC3-4EC5-81C2-83EFB0D349B9}">
      <dsp:nvSpPr>
        <dsp:cNvPr id="0" name=""/>
        <dsp:cNvSpPr/>
      </dsp:nvSpPr>
      <dsp:spPr>
        <a:xfrm>
          <a:off x="5015664" y="1385836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Helping them understand the options they may have</a:t>
          </a:r>
        </a:p>
      </dsp:txBody>
      <dsp:txXfrm>
        <a:off x="5015664" y="1385836"/>
        <a:ext cx="2992275" cy="935086"/>
      </dsp:txXfrm>
    </dsp:sp>
    <dsp:sp modelId="{4DD6262D-558B-40F9-8A9A-86FCD0A0EA45}">
      <dsp:nvSpPr>
        <dsp:cNvPr id="0" name=""/>
        <dsp:cNvSpPr/>
      </dsp:nvSpPr>
      <dsp:spPr>
        <a:xfrm>
          <a:off x="4890986" y="1250768"/>
          <a:ext cx="654560" cy="981840"/>
        </a:xfrm>
        <a:prstGeom prst="rect">
          <a:avLst/>
        </a:prstGeom>
        <a:blipFill>
          <a:blip xmlns:r="http://schemas.openxmlformats.org/officeDocument/2006/relationships"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1BB282-94FB-4130-A4CA-7509B5312889}">
      <dsp:nvSpPr>
        <dsp:cNvPr id="0" name=""/>
        <dsp:cNvSpPr/>
      </dsp:nvSpPr>
      <dsp:spPr>
        <a:xfrm>
          <a:off x="1744975" y="2563006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Short-term</a:t>
          </a:r>
        </a:p>
      </dsp:txBody>
      <dsp:txXfrm>
        <a:off x="1744975" y="2563006"/>
        <a:ext cx="2992275" cy="935086"/>
      </dsp:txXfrm>
    </dsp:sp>
    <dsp:sp modelId="{A003ACCD-72C0-4D3D-B1CE-3F40754EF7A4}">
      <dsp:nvSpPr>
        <dsp:cNvPr id="0" name=""/>
        <dsp:cNvSpPr/>
      </dsp:nvSpPr>
      <dsp:spPr>
        <a:xfrm>
          <a:off x="1620297" y="2427938"/>
          <a:ext cx="654560" cy="981840"/>
        </a:xfrm>
        <a:prstGeom prst="rect">
          <a:avLst/>
        </a:prstGeom>
        <a:blipFill>
          <a:blip xmlns:r="http://schemas.openxmlformats.org/officeDocument/2006/relationships"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92D62D-84FF-4101-B78A-4F53BCFF8633}">
      <dsp:nvSpPr>
        <dsp:cNvPr id="0" name=""/>
        <dsp:cNvSpPr/>
      </dsp:nvSpPr>
      <dsp:spPr>
        <a:xfrm>
          <a:off x="5015664" y="2563006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Long-term</a:t>
          </a:r>
        </a:p>
      </dsp:txBody>
      <dsp:txXfrm>
        <a:off x="5015664" y="2563006"/>
        <a:ext cx="2992275" cy="935086"/>
      </dsp:txXfrm>
    </dsp:sp>
    <dsp:sp modelId="{D813723D-D9C4-4C21-AE5C-A96149BE6A99}">
      <dsp:nvSpPr>
        <dsp:cNvPr id="0" name=""/>
        <dsp:cNvSpPr/>
      </dsp:nvSpPr>
      <dsp:spPr>
        <a:xfrm>
          <a:off x="4890986" y="2427938"/>
          <a:ext cx="654560" cy="981840"/>
        </a:xfrm>
        <a:prstGeom prst="rect">
          <a:avLst/>
        </a:prstGeom>
        <a:blipFill>
          <a:blip xmlns:r="http://schemas.openxmlformats.org/officeDocument/2006/relationships"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358A0E-D099-4B96-9973-AB7D576289F6}">
      <dsp:nvSpPr>
        <dsp:cNvPr id="0" name=""/>
        <dsp:cNvSpPr/>
      </dsp:nvSpPr>
      <dsp:spPr>
        <a:xfrm>
          <a:off x="1744975" y="3740175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Small–scale</a:t>
          </a:r>
        </a:p>
      </dsp:txBody>
      <dsp:txXfrm>
        <a:off x="1744975" y="3740175"/>
        <a:ext cx="2992275" cy="935086"/>
      </dsp:txXfrm>
    </dsp:sp>
    <dsp:sp modelId="{03EB9159-09FA-4B4D-B632-B3F0CE13C34A}">
      <dsp:nvSpPr>
        <dsp:cNvPr id="0" name=""/>
        <dsp:cNvSpPr/>
      </dsp:nvSpPr>
      <dsp:spPr>
        <a:xfrm>
          <a:off x="1620297" y="3605107"/>
          <a:ext cx="654560" cy="981840"/>
        </a:xfrm>
        <a:prstGeom prst="rect">
          <a:avLst/>
        </a:prstGeom>
        <a:blipFill>
          <a:blip xmlns:r="http://schemas.openxmlformats.org/officeDocument/2006/relationships"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29A503-1388-466E-8B3F-F8FA1AA511A0}">
      <dsp:nvSpPr>
        <dsp:cNvPr id="0" name=""/>
        <dsp:cNvSpPr/>
      </dsp:nvSpPr>
      <dsp:spPr>
        <a:xfrm>
          <a:off x="5015664" y="3740175"/>
          <a:ext cx="2992275" cy="93508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3365" tIns="57150" rIns="5715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Large-scale</a:t>
          </a:r>
        </a:p>
      </dsp:txBody>
      <dsp:txXfrm>
        <a:off x="5015664" y="3740175"/>
        <a:ext cx="2992275" cy="935086"/>
      </dsp:txXfrm>
    </dsp:sp>
    <dsp:sp modelId="{F8F8EF4E-BFCA-405A-884D-12CD427C39DE}">
      <dsp:nvSpPr>
        <dsp:cNvPr id="0" name=""/>
        <dsp:cNvSpPr/>
      </dsp:nvSpPr>
      <dsp:spPr>
        <a:xfrm>
          <a:off x="4890986" y="3605107"/>
          <a:ext cx="654560" cy="981840"/>
        </a:xfrm>
        <a:prstGeom prst="rect">
          <a:avLst/>
        </a:prstGeom>
        <a:blipFill>
          <a:blip xmlns:r="http://schemas.openxmlformats.org/officeDocument/2006/relationships" r:embed="rId1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99B4E4-4FC4-4B4F-BC41-F33B19021DBB}">
      <dsp:nvSpPr>
        <dsp:cNvPr id="0" name=""/>
        <dsp:cNvSpPr/>
      </dsp:nvSpPr>
      <dsp:spPr>
        <a:xfrm>
          <a:off x="1382385" y="219757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/>
            <a:t>Placemaking</a:t>
          </a:r>
        </a:p>
      </dsp:txBody>
      <dsp:txXfrm>
        <a:off x="1382385" y="219757"/>
        <a:ext cx="2912495" cy="910154"/>
      </dsp:txXfrm>
    </dsp:sp>
    <dsp:sp modelId="{2FA271E5-82D2-40C6-806A-3FC406D52D78}">
      <dsp:nvSpPr>
        <dsp:cNvPr id="0" name=""/>
        <dsp:cNvSpPr/>
      </dsp:nvSpPr>
      <dsp:spPr>
        <a:xfrm>
          <a:off x="1261031" y="88290"/>
          <a:ext cx="637108" cy="955662"/>
        </a:xfrm>
        <a:prstGeom prst="rect">
          <a:avLst/>
        </a:prstGeom>
        <a:blipFill>
          <a:blip xmlns:r="http://schemas.openxmlformats.org/officeDocument/2006/relationships" r:embed="rId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573EFF-DA7A-4EEA-9B86-EB634CC83BF9}">
      <dsp:nvSpPr>
        <dsp:cNvPr id="0" name=""/>
        <dsp:cNvSpPr/>
      </dsp:nvSpPr>
      <dsp:spPr>
        <a:xfrm>
          <a:off x="4577633" y="219757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Making space for water</a:t>
          </a:r>
        </a:p>
      </dsp:txBody>
      <dsp:txXfrm>
        <a:off x="4577633" y="219757"/>
        <a:ext cx="2912495" cy="910154"/>
      </dsp:txXfrm>
    </dsp:sp>
    <dsp:sp modelId="{025521F9-8761-4A47-BA62-9AC2BAFAC3F8}">
      <dsp:nvSpPr>
        <dsp:cNvPr id="0" name=""/>
        <dsp:cNvSpPr/>
      </dsp:nvSpPr>
      <dsp:spPr>
        <a:xfrm>
          <a:off x="4456279" y="88290"/>
          <a:ext cx="637108" cy="955662"/>
        </a:xfrm>
        <a:prstGeom prst="rect">
          <a:avLst/>
        </a:prstGeom>
        <a:blipFill>
          <a:blip xmlns:r="http://schemas.openxmlformats.org/officeDocument/2006/relationships"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93F46A-FA3E-48E1-956F-C05B8D2C234F}">
      <dsp:nvSpPr>
        <dsp:cNvPr id="0" name=""/>
        <dsp:cNvSpPr/>
      </dsp:nvSpPr>
      <dsp:spPr>
        <a:xfrm>
          <a:off x="1382385" y="1365541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/>
            <a:t>Making better use of land – urban and rural</a:t>
          </a:r>
        </a:p>
      </dsp:txBody>
      <dsp:txXfrm>
        <a:off x="1382385" y="1365541"/>
        <a:ext cx="2912495" cy="910154"/>
      </dsp:txXfrm>
    </dsp:sp>
    <dsp:sp modelId="{29629E79-7D1B-4732-894A-D5037E83DE0A}">
      <dsp:nvSpPr>
        <dsp:cNvPr id="0" name=""/>
        <dsp:cNvSpPr/>
      </dsp:nvSpPr>
      <dsp:spPr>
        <a:xfrm>
          <a:off x="1261031" y="1234074"/>
          <a:ext cx="637108" cy="955662"/>
        </a:xfrm>
        <a:prstGeom prst="rect">
          <a:avLst/>
        </a:prstGeom>
        <a:blipFill>
          <a:blip xmlns:r="http://schemas.openxmlformats.org/officeDocument/2006/relationships"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414BA5-D5C4-4DC7-A6D6-3E2A323064AB}">
      <dsp:nvSpPr>
        <dsp:cNvPr id="0" name=""/>
        <dsp:cNvSpPr/>
      </dsp:nvSpPr>
      <dsp:spPr>
        <a:xfrm>
          <a:off x="4577633" y="1365541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100" kern="1200"/>
            <a:t>Bringing those involved in place-based design and adaptation projects together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GB" sz="1100" kern="1200"/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GB" sz="1100" kern="1200"/>
        </a:p>
      </dsp:txBody>
      <dsp:txXfrm>
        <a:off x="4577633" y="1365541"/>
        <a:ext cx="2912495" cy="910154"/>
      </dsp:txXfrm>
    </dsp:sp>
    <dsp:sp modelId="{D78985E7-8513-4F3D-864F-501F7A1CECC9}">
      <dsp:nvSpPr>
        <dsp:cNvPr id="0" name=""/>
        <dsp:cNvSpPr/>
      </dsp:nvSpPr>
      <dsp:spPr>
        <a:xfrm>
          <a:off x="4456279" y="1234074"/>
          <a:ext cx="637108" cy="955662"/>
        </a:xfrm>
        <a:prstGeom prst="rect">
          <a:avLst/>
        </a:prstGeom>
        <a:blipFill>
          <a:blip xmlns:r="http://schemas.openxmlformats.org/officeDocument/2006/relationships"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EA56C0-A56C-4DC5-9A9D-9077B10F9DF9}">
      <dsp:nvSpPr>
        <dsp:cNvPr id="0" name=""/>
        <dsp:cNvSpPr/>
      </dsp:nvSpPr>
      <dsp:spPr>
        <a:xfrm>
          <a:off x="1382385" y="2511325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Optimising drainage networks - 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natural and man-made</a:t>
          </a:r>
        </a:p>
        <a:p>
          <a:pPr indent="0" algn="l">
            <a:spcBef>
              <a:spcPct val="0"/>
            </a:spcBef>
            <a:buNone/>
          </a:pPr>
          <a:endParaRPr lang="en-GB" sz="1100" kern="1200"/>
        </a:p>
      </dsp:txBody>
      <dsp:txXfrm>
        <a:off x="1382385" y="2511325"/>
        <a:ext cx="2912495" cy="910154"/>
      </dsp:txXfrm>
    </dsp:sp>
    <dsp:sp modelId="{628871EE-DFA8-4196-8A5D-FEE30A856965}">
      <dsp:nvSpPr>
        <dsp:cNvPr id="0" name=""/>
        <dsp:cNvSpPr/>
      </dsp:nvSpPr>
      <dsp:spPr>
        <a:xfrm>
          <a:off x="1261031" y="2379858"/>
          <a:ext cx="637108" cy="955662"/>
        </a:xfrm>
        <a:prstGeom prst="rect">
          <a:avLst/>
        </a:prstGeom>
        <a:blipFill>
          <a:blip xmlns:r="http://schemas.openxmlformats.org/officeDocument/2006/relationships"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DF80B3-AD9F-47E5-B3E2-FCB61E0DAFE9}">
      <dsp:nvSpPr>
        <dsp:cNvPr id="0" name=""/>
        <dsp:cNvSpPr/>
      </dsp:nvSpPr>
      <dsp:spPr>
        <a:xfrm>
          <a:off x="4577633" y="2511325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Long-term thinking</a:t>
          </a:r>
        </a:p>
      </dsp:txBody>
      <dsp:txXfrm>
        <a:off x="4577633" y="2511325"/>
        <a:ext cx="2912495" cy="910154"/>
      </dsp:txXfrm>
    </dsp:sp>
    <dsp:sp modelId="{D4619323-D736-45CB-9305-F7F6DE87DA79}">
      <dsp:nvSpPr>
        <dsp:cNvPr id="0" name=""/>
        <dsp:cNvSpPr/>
      </dsp:nvSpPr>
      <dsp:spPr>
        <a:xfrm>
          <a:off x="4456279" y="2379858"/>
          <a:ext cx="637108" cy="955662"/>
        </a:xfrm>
        <a:prstGeom prst="rect">
          <a:avLst/>
        </a:prstGeom>
        <a:blipFill>
          <a:blip xmlns:r="http://schemas.openxmlformats.org/officeDocument/2006/relationships"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0244AF-9640-440E-81E5-39C1D40724E7}">
      <dsp:nvSpPr>
        <dsp:cNvPr id="0" name=""/>
        <dsp:cNvSpPr/>
      </dsp:nvSpPr>
      <dsp:spPr>
        <a:xfrm>
          <a:off x="2980009" y="3657109"/>
          <a:ext cx="2912495" cy="91015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6478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Slow transition away from the most exposed areas</a:t>
          </a:r>
        </a:p>
      </dsp:txBody>
      <dsp:txXfrm>
        <a:off x="2980009" y="3657109"/>
        <a:ext cx="2912495" cy="910154"/>
      </dsp:txXfrm>
    </dsp:sp>
    <dsp:sp modelId="{4A3DF1B3-FDCE-496C-ACC0-7ADA2A280313}">
      <dsp:nvSpPr>
        <dsp:cNvPr id="0" name=""/>
        <dsp:cNvSpPr/>
      </dsp:nvSpPr>
      <dsp:spPr>
        <a:xfrm flipH="1">
          <a:off x="2858655" y="3525642"/>
          <a:ext cx="637108" cy="955662"/>
        </a:xfrm>
        <a:prstGeom prst="rect">
          <a:avLst/>
        </a:prstGeom>
        <a:blipFill>
          <a:blip xmlns:r="http://schemas.openxmlformats.org/officeDocument/2006/relationships"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817132-0226-46B2-AFE6-60F530022ED2}">
      <dsp:nvSpPr>
        <dsp:cNvPr id="0" name=""/>
        <dsp:cNvSpPr/>
      </dsp:nvSpPr>
      <dsp:spPr>
        <a:xfrm>
          <a:off x="590983" y="203045"/>
          <a:ext cx="3363032" cy="1050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84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Increasing the range of actions</a:t>
          </a:r>
        </a:p>
      </dsp:txBody>
      <dsp:txXfrm>
        <a:off x="590983" y="203045"/>
        <a:ext cx="3363032" cy="1050947"/>
      </dsp:txXfrm>
    </dsp:sp>
    <dsp:sp modelId="{A1EAB8FA-C87F-4FA3-A9DB-05CC67B36417}">
      <dsp:nvSpPr>
        <dsp:cNvPr id="0" name=""/>
        <dsp:cNvSpPr/>
      </dsp:nvSpPr>
      <dsp:spPr>
        <a:xfrm flipH="1">
          <a:off x="450857" y="51242"/>
          <a:ext cx="735663" cy="1103494"/>
        </a:xfrm>
        <a:prstGeom prst="rect">
          <a:avLst/>
        </a:prstGeom>
        <a:blipFill>
          <a:blip xmlns:r="http://schemas.openxmlformats.org/officeDocument/2006/relationships" r:embed="rId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F67B05-088A-4A2E-939B-5A6FA47E4136}">
      <dsp:nvSpPr>
        <dsp:cNvPr id="0" name=""/>
        <dsp:cNvSpPr/>
      </dsp:nvSpPr>
      <dsp:spPr>
        <a:xfrm>
          <a:off x="4265467" y="203045"/>
          <a:ext cx="3363032" cy="1050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84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Increasing range of delivery partners</a:t>
          </a:r>
        </a:p>
      </dsp:txBody>
      <dsp:txXfrm>
        <a:off x="4265467" y="203045"/>
        <a:ext cx="3363032" cy="1050947"/>
      </dsp:txXfrm>
    </dsp:sp>
    <dsp:sp modelId="{E9C9A28C-3451-4B13-BF6E-6A9B093100B5}">
      <dsp:nvSpPr>
        <dsp:cNvPr id="0" name=""/>
        <dsp:cNvSpPr/>
      </dsp:nvSpPr>
      <dsp:spPr>
        <a:xfrm>
          <a:off x="4125341" y="51242"/>
          <a:ext cx="735663" cy="1103494"/>
        </a:xfrm>
        <a:prstGeom prst="rect">
          <a:avLst/>
        </a:prstGeom>
        <a:blipFill>
          <a:blip xmlns:r="http://schemas.openxmlformats.org/officeDocument/2006/relationships"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0968F6-CA4D-427A-A127-56C136FCE203}">
      <dsp:nvSpPr>
        <dsp:cNvPr id="0" name=""/>
        <dsp:cNvSpPr/>
      </dsp:nvSpPr>
      <dsp:spPr>
        <a:xfrm>
          <a:off x="590983" y="1526071"/>
          <a:ext cx="3363032" cy="1050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84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Using flood risk management plans to bring forward different actions</a:t>
          </a:r>
        </a:p>
      </dsp:txBody>
      <dsp:txXfrm>
        <a:off x="590983" y="1526071"/>
        <a:ext cx="3363032" cy="1050947"/>
      </dsp:txXfrm>
    </dsp:sp>
    <dsp:sp modelId="{C99F4E01-DE36-4DC7-840E-6FF95B0AA193}">
      <dsp:nvSpPr>
        <dsp:cNvPr id="0" name=""/>
        <dsp:cNvSpPr/>
      </dsp:nvSpPr>
      <dsp:spPr>
        <a:xfrm>
          <a:off x="450857" y="1374268"/>
          <a:ext cx="735663" cy="1103494"/>
        </a:xfrm>
        <a:prstGeom prst="rect">
          <a:avLst/>
        </a:prstGeom>
        <a:blipFill>
          <a:blip xmlns:r="http://schemas.openxmlformats.org/officeDocument/2006/relationships"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5AB024-6D5C-4551-B7EA-2E4F1FDC896A}">
      <dsp:nvSpPr>
        <dsp:cNvPr id="0" name=""/>
        <dsp:cNvSpPr/>
      </dsp:nvSpPr>
      <dsp:spPr>
        <a:xfrm>
          <a:off x="4265467" y="1526071"/>
          <a:ext cx="3363032" cy="1050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84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1" kern="1200"/>
            <a:t>Accessing and deploying available resources</a:t>
          </a:r>
        </a:p>
      </dsp:txBody>
      <dsp:txXfrm>
        <a:off x="4265467" y="1526071"/>
        <a:ext cx="3363032" cy="1050947"/>
      </dsp:txXfrm>
    </dsp:sp>
    <dsp:sp modelId="{B9898FB8-6A16-4FF7-98C8-D3DCAF58905C}">
      <dsp:nvSpPr>
        <dsp:cNvPr id="0" name=""/>
        <dsp:cNvSpPr/>
      </dsp:nvSpPr>
      <dsp:spPr>
        <a:xfrm>
          <a:off x="4125341" y="1374268"/>
          <a:ext cx="735663" cy="1103494"/>
        </a:xfrm>
        <a:prstGeom prst="rect">
          <a:avLst/>
        </a:prstGeom>
        <a:blipFill>
          <a:blip xmlns:r="http://schemas.openxmlformats.org/officeDocument/2006/relationships" r:embed="rId7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CF340B-8E87-41A4-9C06-41941D1790AF}">
      <dsp:nvSpPr>
        <dsp:cNvPr id="0" name=""/>
        <dsp:cNvSpPr/>
      </dsp:nvSpPr>
      <dsp:spPr>
        <a:xfrm>
          <a:off x="590983" y="2849098"/>
          <a:ext cx="3363032" cy="1050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84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/>
            <a:t>Supporting delivery partners</a:t>
          </a:r>
        </a:p>
      </dsp:txBody>
      <dsp:txXfrm>
        <a:off x="590983" y="2849098"/>
        <a:ext cx="3363032" cy="1050947"/>
      </dsp:txXfrm>
    </dsp:sp>
    <dsp:sp modelId="{675D0AF2-6212-474D-A202-E79A7F0BC3DA}">
      <dsp:nvSpPr>
        <dsp:cNvPr id="0" name=""/>
        <dsp:cNvSpPr/>
      </dsp:nvSpPr>
      <dsp:spPr>
        <a:xfrm>
          <a:off x="450857" y="2697294"/>
          <a:ext cx="735663" cy="1103494"/>
        </a:xfrm>
        <a:prstGeom prst="rect">
          <a:avLst/>
        </a:prstGeom>
        <a:blipFill>
          <a:blip xmlns:r="http://schemas.openxmlformats.org/officeDocument/2006/relationships"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B32A92-2A95-44D5-8F5B-147FC8E893C1}">
      <dsp:nvSpPr>
        <dsp:cNvPr id="0" name=""/>
        <dsp:cNvSpPr/>
      </dsp:nvSpPr>
      <dsp:spPr>
        <a:xfrm>
          <a:off x="4265467" y="2849098"/>
          <a:ext cx="3363032" cy="1050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842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1" kern="1200"/>
            <a:t>Improving governance, delivery and funding mechanisms</a:t>
          </a:r>
        </a:p>
      </dsp:txBody>
      <dsp:txXfrm>
        <a:off x="4265467" y="2849098"/>
        <a:ext cx="3363032" cy="1050947"/>
      </dsp:txXfrm>
    </dsp:sp>
    <dsp:sp modelId="{CF5BA004-A1AE-4584-AF5B-9CBF944494F9}">
      <dsp:nvSpPr>
        <dsp:cNvPr id="0" name=""/>
        <dsp:cNvSpPr/>
      </dsp:nvSpPr>
      <dsp:spPr>
        <a:xfrm>
          <a:off x="4125341" y="2697294"/>
          <a:ext cx="735663" cy="1103494"/>
        </a:xfrm>
        <a:prstGeom prst="rect">
          <a:avLst/>
        </a:prstGeom>
        <a:blipFill>
          <a:blip xmlns:r="http://schemas.openxmlformats.org/officeDocument/2006/relationships"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1/layout/RadialPictureList">
  <dgm:title val="Radial Picture List"/>
  <dgm:desc val="Use to show relationships to a central idea. The Level 1 shape contains text and all Level 2 shapes contain a picture with corresponding text. Limited to four Level 2 pictures.  Unused pictures do not appear, but remain available if you switch layouts. Works best with a small amount of Level 2 text."/>
  <dgm:catLst>
    <dgm:cat type="picture" pri="2500"/>
    <dgm:cat type="officeonline" pri="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10" destId="14" srcOrd="3" destOrd="0"/>
      </dgm:cxnLst>
      <dgm:bg/>
      <dgm:whole/>
    </dgm:dataModel>
  </dgm:clrData>
  <dgm:layoutNode name="Name0">
    <dgm:varLst>
      <dgm:chMax val="1"/>
      <dgm:chPref val="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Child1" refType="w" fact="0.76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5661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6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l" for="ch" forName="Parent" refType="w" fact="0.1777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l" for="ch" forName="Image1" refType="w" fact="0.5531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l" for="ch" forName="Image2" refType="w" fact="0.5531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l" for="ch" forName="Child1" refType="w" fact="0.7529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l" for="ch" forName="Child2" refType="w" fact="0.7529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7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" refType="w" fact="0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l" for="ch" forName="Parent" refType="w" fact="0.1726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l" for="ch" forName="Image1" refType="w" fact="0.4968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l" for="ch" forName="Image2" refType="w" fact="0.5661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l" for="ch" forName="Image3" refType="w" fact="0.4968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l" for="ch" forName="Child1" refType="w" fact="0.6897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l" for="ch" forName="Child2" refType="w" fact="0.76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l" for="ch" forName="Child3" refType="w" fact="0.6897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8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" refType="w" fact="0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l" for="ch" forName="Parent" refType="w" fact="0.1756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l" for="ch" forName="Image1" refType="w" fact="0.42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l" for="ch" forName="Image2" refType="w" fact="0.5598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l" for="ch" forName="Image3" refType="w" fact="0.5591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l" for="ch" forName="Image4" refType="w" fact="0.42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l" for="ch" forName="Child1" refType="w" fact="0.6214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l" for="ch" forName="Child2" refType="w" fact="0.7557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l" for="ch" forName="Child3" refType="w" fact="0.7557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l" for="ch" forName="Child4" refType="w" fact="0.6214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if>
      <dgm:else name="Name9">
        <dgm:choose name="Name10">
          <dgm:if name="Name11" axis="ch ch" ptType="node node" st="1 1" cnt="1 0" func="cnt" op="equ" val="0">
            <dgm:alg type="composite">
              <dgm:param type="ar" val="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2" axis="ch ch" ptType="node node" st="1 1" cnt="1 0" func="cnt" op="equ" val="1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Child1" refType="w" fact="0.24"/>
              <dgm:constr type="t" for="ch" forName="Child1" refType="h" fact="0.3739"/>
              <dgm:constr type="w" for="ch" forName="Child1" refType="w" fact="0.24"/>
              <dgm:constr type="h" for="ch" forName="Child1" refType="h" fact="0.255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4339"/>
              <dgm:constr type="t" for="ch" forName="Image1" refType="h" fact="0.3744"/>
              <dgm:constr type="w" for="ch" forName="Image1" refType="w" fact="0.1793"/>
              <dgm:constr type="h" for="ch" forName="Image1" refType="h" fact="0.255"/>
            </dgm:constrLst>
          </dgm:if>
          <dgm:if name="Name13" axis="ch ch" ptType="node node" st="1 1" cnt="1 0" func="cnt" op="equ" val="2">
            <dgm:alg type="composite">
              <dgm:param type="ar" val="1.381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946"/>
              <dgm:constr type="h" for="ch" forName="Accent" refType="h"/>
              <dgm:constr type="r" for="ch" forName="Parent" refType="w" fact="0.8223"/>
              <dgm:constr type="t" for="ch" forName="Parent" refType="h" fact="0.2646"/>
              <dgm:constr type="w" for="ch" forName="Parent" refType="w" fact="0.3446"/>
              <dgm:constr type="h" for="ch" forName="Parent" refType="h" fact="0.4759"/>
              <dgm:constr type="r" for="ch" forName="Image1" refType="w" fact="0.4469"/>
              <dgm:constr type="t" for="ch" forName="Image1" refType="h" fact="0.1585"/>
              <dgm:constr type="w" for="ch" forName="Image1" refType="w" fact="0.1846"/>
              <dgm:constr type="h" for="ch" forName="Image1" refType="h" fact="0.255"/>
              <dgm:constr type="r" for="ch" forName="Image2" refType="w" fact="0.4469"/>
              <dgm:constr type="t" for="ch" forName="Image2" refType="h" fact="0.5624"/>
              <dgm:constr type="w" for="ch" forName="Image2" refType="w" fact="0.1846"/>
              <dgm:constr type="h" for="ch" forName="Image2" refType="h" fact="0.255"/>
              <dgm:constr type="r" for="ch" forName="Child1" refType="w" fact="0.2471"/>
              <dgm:constr type="t" for="ch" forName="Child1" refType="h" fact="0.1618"/>
              <dgm:constr type="w" for="ch" forName="Child1" refType="w" fact="0.2471"/>
              <dgm:constr type="h" for="ch" forName="Child1" refType="h" fact="0.2468"/>
              <dgm:constr type="r" for="ch" forName="Child2" refType="w" fact="0.2471"/>
              <dgm:constr type="t" for="ch" forName="Child2" refType="h" fact="0.5657"/>
              <dgm:constr type="w" for="ch" forName="Child2" refType="w" fact="0.2471"/>
              <dgm:constr type="h" for="ch" forName="Child2" refType="h" fact="0.2468"/>
            </dgm:constrLst>
          </dgm:if>
          <dgm:if name="Name14" axis="ch ch" ptType="node node" st="1 1" cnt="1 0" func="cnt" op="equ" val="3">
            <dgm:alg type="composite">
              <dgm:param type="ar" val="1.4218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" refType="w"/>
              <dgm:constr type="t" for="ch" forName="Accent" refType="h" fact="0"/>
              <dgm:constr type="w" for="ch" forName="Accent" refType="w" fact="0.6747"/>
              <dgm:constr type="h" for="ch" forName="Accent" refType="h"/>
              <dgm:constr type="r" for="ch" forName="Parent" refType="w" fact="0.8274"/>
              <dgm:constr type="t" for="ch" forName="Parent" refType="h" fact="0.2646"/>
              <dgm:constr type="w" for="ch" forName="Parent" refType="w" fact="0.3347"/>
              <dgm:constr type="h" for="ch" forName="Parent" refType="h" fact="0.4759"/>
              <dgm:constr type="r" for="ch" forName="Image1" refType="w" fact="0.5032"/>
              <dgm:constr type="t" for="ch" forName="Image1" refType="h" fact="0.0843"/>
              <dgm:constr type="w" for="ch" forName="Image1" refType="w" fact="0.1793"/>
              <dgm:constr type="h" for="ch" forName="Image1" refType="h" fact="0.255"/>
              <dgm:constr type="r" for="ch" forName="Image2" refType="w" fact="0.4339"/>
              <dgm:constr type="t" for="ch" forName="Image2" refType="h" fact="0.3744"/>
              <dgm:constr type="w" for="ch" forName="Image2" refType="w" fact="0.1793"/>
              <dgm:constr type="h" for="ch" forName="Image2" refType="h" fact="0.255"/>
              <dgm:constr type="r" for="ch" forName="Image3" refType="w" fact="0.5032"/>
              <dgm:constr type="t" for="ch" forName="Image3" refType="h" fact="0.6686"/>
              <dgm:constr type="w" for="ch" forName="Image3" refType="w" fact="0.1793"/>
              <dgm:constr type="h" for="ch" forName="Image3" refType="h" fact="0.255"/>
              <dgm:constr type="r" for="ch" forName="Child1" refType="w" fact="0.3103"/>
              <dgm:constr type="t" for="ch" forName="Child1" refType="h" fact="0.0884"/>
              <dgm:constr type="w" for="ch" forName="Child1" refType="w" fact="0.24"/>
              <dgm:constr type="h" for="ch" forName="Child1" refType="h" fact="0.2468"/>
              <dgm:constr type="r" for="ch" forName="Child2" refType="w" fact="0.24"/>
              <dgm:constr type="t" for="ch" forName="Child2" refType="h" fact="0.378"/>
              <dgm:constr type="w" for="ch" forName="Child2" refType="w" fact="0.24"/>
              <dgm:constr type="h" for="ch" forName="Child2" refType="h" fact="0.2468"/>
              <dgm:constr type="r" for="ch" forName="Child3" refType="w" fact="0.3103"/>
              <dgm:constr type="t" for="ch" forName="Child3" refType="h" fact="0.6738"/>
              <dgm:constr type="w" for="ch" forName="Child3" refType="w" fact="0.24"/>
              <dgm:constr type="h" for="ch" forName="Child3" refType="h" fact="0.2468"/>
            </dgm:constrLst>
          </dgm:if>
          <dgm:else name="Name15">
            <dgm:alg type="composite">
              <dgm:param type="ar" val="1.2852"/>
            </dgm:alg>
            <dgm:constrLst>
              <dgm:constr type="primFontSz" for="des" forName="Child1" val="65"/>
              <dgm:constr type="primFontSz" for="des" forName="Parent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" refType="w"/>
              <dgm:constr type="t" for="ch" forName="Accent" refType="h" fact="0.0361"/>
              <dgm:constr type="w" for="ch" forName="Accent" refType="w" fact="0.6865"/>
              <dgm:constr type="h" for="ch" forName="Accent" refType="h" fact="0.9197"/>
              <dgm:constr type="r" for="ch" forName="Parent" refType="w" fact="0.8244"/>
              <dgm:constr type="t" for="ch" forName="Parent" refType="h" fact="0.2795"/>
              <dgm:constr type="w" for="ch" forName="Parent" refType="w" fact="0.3406"/>
              <dgm:constr type="h" for="ch" forName="Parent" refType="h" fact="0.4377"/>
              <dgm:constr type="r" for="ch" forName="Image1" refType="w" fact="0.575"/>
              <dgm:constr type="t" for="ch" forName="Image1" refType="h" fact="0"/>
              <dgm:constr type="w" for="ch" forName="Image1" refType="w" fact="0.1825"/>
              <dgm:constr type="h" for="ch" forName="Image1" refType="h" fact="0.2345"/>
              <dgm:constr type="r" for="ch" forName="Image2" refType="w" fact="0.4402"/>
              <dgm:constr type="t" for="ch" forName="Image2" refType="h" fact="0.2184"/>
              <dgm:constr type="w" for="ch" forName="Image2" refType="w" fact="0.1825"/>
              <dgm:constr type="h" for="ch" forName="Image2" refType="h" fact="0.2345"/>
              <dgm:constr type="r" for="ch" forName="Image3" refType="w" fact="0.4409"/>
              <dgm:constr type="t" for="ch" forName="Image3" refType="h" fact="0.5395"/>
              <dgm:constr type="w" for="ch" forName="Image3" refType="w" fact="0.1825"/>
              <dgm:constr type="h" for="ch" forName="Image3" refType="h" fact="0.2345"/>
              <dgm:constr type="r" for="ch" forName="Image4" refType="w" fact="0.575"/>
              <dgm:constr type="t" for="ch" forName="Image4" refType="h" fact="0.7655"/>
              <dgm:constr type="w" for="ch" forName="Image4" refType="w" fact="0.1825"/>
              <dgm:constr type="h" for="ch" forName="Image4" refType="h" fact="0.2345"/>
              <dgm:constr type="r" for="ch" forName="Child1" refType="w" fact="0.3786"/>
              <dgm:constr type="t" for="ch" forName="Child1" refType="h" fact="0.003"/>
              <dgm:constr type="w" for="ch" forName="Child1" refType="w" fact="0.2443"/>
              <dgm:constr type="h" for="ch" forName="Child1" refType="h" fact="0.227"/>
              <dgm:constr type="r" for="ch" forName="Child2" refType="w" fact="0.2443"/>
              <dgm:constr type="t" for="ch" forName="Child2" refType="h" fact="0.2225"/>
              <dgm:constr type="w" for="ch" forName="Child2" refType="w" fact="0.2443"/>
              <dgm:constr type="h" for="ch" forName="Child2" refType="h" fact="0.227"/>
              <dgm:constr type="r" for="ch" forName="Child3" refType="w" fact="0.2443"/>
              <dgm:constr type="t" for="ch" forName="Child3" refType="h" fact="0.5433"/>
              <dgm:constr type="w" for="ch" forName="Child3" refType="w" fact="0.2443"/>
              <dgm:constr type="h" for="ch" forName="Child3" refType="h" fact="0.227"/>
              <dgm:constr type="r" for="ch" forName="Child4" refType="w" fact="0.3786"/>
              <dgm:constr type="t" for="ch" forName="Child4" refType="h" fact="0.7703"/>
              <dgm:constr type="w" for="ch" forName="Child4" refType="w" fact="0.2443"/>
              <dgm:constr type="h" for="ch" forName="Child4" refType="h" fact="0.227"/>
            </dgm:constrLst>
          </dgm:else>
        </dgm:choose>
      </dgm:else>
    </dgm:choose>
    <dgm:forEach name="wrapper" axis="self" ptType="parTrans">
      <dgm:forEach name="ImageRepeat" axis="self">
        <dgm:layoutNode name="Image" styleLbl="fgImgPlace1">
          <dgm:alg type="sp"/>
          <dgm:shape xmlns:r="http://schemas.openxmlformats.org/officeDocument/2006/relationships" type="ellipse" r:blip="" blipPhldr="1">
            <dgm:adjLst/>
          </dgm:shape>
          <dgm:presOf/>
        </dgm:layoutNode>
      </dgm:forEach>
    </dgm:forEach>
    <dgm:forEach name="Name16" axis="ch" ptType="node" cnt="1">
      <dgm:layoutNode name="Parent" styleLbl="node1">
        <dgm:varLst>
          <dgm:chMax val="4"/>
          <dgm:chPref val="3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7" axis="ch ch" ptType="node node" st="1 1" cnt="1 1">
      <dgm:layoutNode name="Accent" styleLbl="node1">
        <dgm:alg type="sp"/>
        <dgm:choose name="Name18">
          <dgm:if name="Name19" func="var" arg="dir" op="equ" val="norm">
            <dgm:choose name="Name20">
              <dgm:if name="Name21" axis="followSib" ptType="node" func="cnt" op="equ" val="0">
                <dgm:shape xmlns:r="http://schemas.openxmlformats.org/officeDocument/2006/relationships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2" axis="followSib" ptType="node" func="cnt" op="equ" val="1">
                <dgm:shape xmlns:r="http://schemas.openxmlformats.org/officeDocument/2006/relationships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3" axis="followSib" ptType="node" func="cnt" op="equ" val="2">
                <dgm:shape xmlns:r="http://schemas.openxmlformats.org/officeDocument/2006/relationships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24">
                <dgm:shape xmlns:r="http://schemas.openxmlformats.org/officeDocument/2006/relationships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if>
          <dgm:else name="Name25">
            <dgm:choose name="Name26">
              <dgm:if name="Name27" axis="followSib" ptType="node" func="cnt" op="equ" val="0">
                <dgm:shape xmlns:r="http://schemas.openxmlformats.org/officeDocument/2006/relationships" rot="180" type="blockArc" r:blip="">
                  <dgm:adjLst>
                    <dgm:adj idx="1" val="-49.0368"/>
                    <dgm:adj idx="2" val="49.4265"/>
                    <dgm:adj idx="3" val="0.0564"/>
                  </dgm:adjLst>
                </dgm:shape>
              </dgm:if>
              <dgm:if name="Name28" axis="followSib" ptType="node" func="cnt" op="equ" val="1">
                <dgm:shape xmlns:r="http://schemas.openxmlformats.org/officeDocument/2006/relationships" rot="180" type="blockArc" r:blip="">
                  <dgm:adjLst>
                    <dgm:adj idx="1" val="-64.2028"/>
                    <dgm:adj idx="2" val="64.5456"/>
                    <dgm:adj idx="3" val="0.0558"/>
                  </dgm:adjLst>
                </dgm:shape>
              </dgm:if>
              <dgm:if name="Name29" axis="followSib" ptType="node" func="cnt" op="equ" val="2">
                <dgm:shape xmlns:r="http://schemas.openxmlformats.org/officeDocument/2006/relationships" rot="180" type="blockArc" r:blip="">
                  <dgm:adjLst>
                    <dgm:adj idx="1" val="-67.8702"/>
                    <dgm:adj idx="2" val="68.6519"/>
                    <dgm:adj idx="3" val="0.0575"/>
                  </dgm:adjLst>
                </dgm:shape>
              </dgm:if>
              <dgm:else name="Name30">
                <dgm:shape xmlns:r="http://schemas.openxmlformats.org/officeDocument/2006/relationships" rot="180" type="blockArc" r:blip="">
                  <dgm:adjLst>
                    <dgm:adj idx="1" val="-84.8426"/>
                    <dgm:adj idx="2" val="84.8009"/>
                    <dgm:adj idx="3" val="0.0524"/>
                  </dgm:adjLst>
                </dgm:shape>
              </dgm:else>
            </dgm:choose>
          </dgm:else>
        </dgm:choose>
        <dgm:presOf/>
      </dgm:layoutNode>
      <dgm:layoutNode name="Image1" styleLbl="fgImgPlace1">
        <dgm:alg type="sp"/>
        <dgm:shape xmlns:r="http://schemas.openxmlformats.org/officeDocument/2006/relationships" type="ellipse" r:blip="" blipPhldr="1">
          <dgm:adjLst/>
        </dgm:shape>
        <dgm:presOf/>
      </dgm:layoutNode>
      <dgm:layoutNode name="Child1" styleLbl="revTx">
        <dgm:varLst>
          <dgm:chMax val="0"/>
          <dgm:chPref val="0"/>
          <dgm:bulletEnabled val="1"/>
        </dgm:varLst>
        <dgm:choose name="Name31">
          <dgm:if name="Name3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4" axis="ch ch" ptType="node node" st="1 2" cnt="1 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35" ref="ImageRepeat"/>
      </dgm:layoutNode>
      <dgm:layoutNode name="Child2" styleLbl="revTx">
        <dgm:varLst>
          <dgm:chMax val="0"/>
          <dgm:chPref val="0"/>
          <dgm:bulletEnabled val="1"/>
        </dgm:varLst>
        <dgm:choose name="Name36">
          <dgm:if name="Name3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3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9" axis="ch ch" ptType="node node" st="1 3" cnt="1 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40" ref="ImageRepeat"/>
      </dgm:layoutNode>
      <dgm:layoutNode name="Child3" styleLbl="revTx">
        <dgm:varLst>
          <dgm:chMax val="0"/>
          <dgm:chPref val="0"/>
          <dgm:bulletEnabled val="1"/>
        </dgm:varLst>
        <dgm:choose name="Name41">
          <dgm:if name="Name42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3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4" axis="ch ch" ptType="node node" st="1 4" cnt="1 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45" ref="ImageRepeat"/>
      </dgm:layoutNode>
      <dgm:layoutNode name="Child4" styleLbl="revTx">
        <dgm:varLst>
          <dgm:chMax val="0"/>
          <dgm:chPref val="0"/>
          <dgm:bulletEnabled val="1"/>
        </dgm:varLst>
        <dgm:choose name="Name46">
          <dgm:if name="Name47" func="var" arg="dir" op="equ" val="norm">
            <dgm:alg type="tx">
              <dgm:param type="parTxLTRAlign" val="l"/>
              <dgm:param type="shpTxLTRAlignCh" val="l"/>
              <dgm:param type="parTxRTLAlign" val="l"/>
              <dgm:param type="shpTxRTLAlignCh" val="l"/>
              <dgm:param type="lnSpAfParP" val="10"/>
            </dgm:alg>
          </dgm:if>
          <dgm:else name="Name48">
            <dgm:alg type="tx">
              <dgm:param type="parTxLTRAlign" val="r"/>
              <dgm:param type="shpTxLTRAlignCh" val="r"/>
              <dgm:param type="parTxRTLAlign" val="r"/>
              <dgm:param type="shpTxRTLAlignCh" val="r"/>
              <dgm:param type="lnSpAfParP" val="10"/>
            </dgm:alg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3B091E-06AD-43A1-979D-5FEA0987572F}" type="datetimeFigureOut">
              <a:rPr lang="en-GB" smtClean="0"/>
              <a:t>31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0DEF09-1D83-4C57-90A6-F43FB93C894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27873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GB" sz="1200" b="1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GB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FB83E4-B4C0-4A70-BDBB-16B7E1430E0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8282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DEF09-1D83-4C57-90A6-F43FB93C8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501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 commit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DEF09-1D83-4C57-90A6-F43FB93C8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2311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0DEF09-1D83-4C57-90A6-F43FB93C894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96198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C6497D-4714-5F5F-C442-29E0B3C5F6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24E6CC0-5A5F-9754-E3AC-25B7822756A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A0F561-84F4-C0C6-0A0E-4624400A5E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GB" sz="1200" b="1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GB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31A551-5F58-9845-6AF0-89B44DF9A8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FB83E4-B4C0-4A70-BDBB-16B7E1430E0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3360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0DEF09-1D83-4C57-90A6-F43FB93C894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1882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0DEF09-1D83-4C57-90A6-F43FB93C894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0219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e most relevant theme for this grou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DEF09-1D83-4C57-90A6-F43FB93C894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25988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0DEF09-1D83-4C57-90A6-F43FB93C894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848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6389" y="1052739"/>
            <a:ext cx="10363200" cy="1470025"/>
          </a:xfrm>
        </p:spPr>
        <p:txBody>
          <a:bodyPr/>
          <a:lstStyle>
            <a:lvl1pPr>
              <a:defRPr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10789" y="2924944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edit Master subtitle style</a:t>
            </a:r>
            <a:endParaRPr lang="en-GB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0377" y="5695381"/>
            <a:ext cx="5515224" cy="889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75252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27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25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>
            <a:lvl1pPr>
              <a:defRPr sz="27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256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615259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US" sz="2002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92749" y="120605"/>
            <a:ext cx="11082528" cy="277320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2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184848"/>
            <a:ext cx="11082528" cy="1868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349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8" y="6533381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7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79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8" y="6501671"/>
            <a:ext cx="727786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34776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7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195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2700" b="1" cap="all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902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7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966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27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6317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180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922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5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1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050">
                <a:solidFill>
                  <a:schemeClr val="tx1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6419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0181" y="6237317"/>
            <a:ext cx="3074267" cy="480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58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2016 Scottish Government Template</a:t>
            </a:r>
            <a:endParaRPr lang="en-GB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5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01883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300" baseline="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1" fontAlgn="base" hangingPunct="1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2pPr>
      <a:lvl3pPr marL="857250" indent="-17145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1200150" indent="-171450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15430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8859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Relationship Id="rId9" Type="http://schemas.openxmlformats.org/officeDocument/2006/relationships/image" Target="../media/image36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v.scot/publications/flood-resilience-strategy-consultation/" TargetMode="External"/><Relationship Id="rId2" Type="http://schemas.openxmlformats.org/officeDocument/2006/relationships/hyperlink" Target="https://consult.gov.scot/environment-forestry/flood-resilience-strategy-consultation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5.sv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10" Type="http://schemas.openxmlformats.org/officeDocument/2006/relationships/image" Target="../media/image8.svg"/><Relationship Id="rId4" Type="http://schemas.openxmlformats.org/officeDocument/2006/relationships/diagramData" Target="../diagrams/data2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1544" y="2885243"/>
            <a:ext cx="8229600" cy="534629"/>
          </a:xfrm>
        </p:spPr>
        <p:txBody>
          <a:bodyPr/>
          <a:lstStyle/>
          <a:p>
            <a:pPr algn="ctr"/>
            <a:br>
              <a:rPr lang="en-GB" sz="1200">
                <a:solidFill>
                  <a:schemeClr val="accent2">
                    <a:lumMod val="75000"/>
                  </a:schemeClr>
                </a:solidFill>
              </a:rPr>
            </a:br>
            <a:br>
              <a:rPr lang="en-GB" sz="1200">
                <a:solidFill>
                  <a:schemeClr val="accent2">
                    <a:lumMod val="75000"/>
                  </a:schemeClr>
                </a:solidFill>
              </a:rPr>
            </a:br>
            <a:br>
              <a:rPr lang="en-GB" sz="1200">
                <a:solidFill>
                  <a:schemeClr val="accent2">
                    <a:lumMod val="75000"/>
                  </a:schemeClr>
                </a:solidFill>
              </a:rPr>
            </a:br>
            <a:br>
              <a:rPr lang="en-GB" sz="2000" b="1">
                <a:solidFill>
                  <a:schemeClr val="accent5"/>
                </a:solidFill>
              </a:rPr>
            </a:br>
            <a:br>
              <a:rPr lang="en-GB" sz="2800" b="1">
                <a:solidFill>
                  <a:schemeClr val="accent5"/>
                </a:solidFill>
              </a:rPr>
            </a:br>
            <a:br>
              <a:rPr lang="en-GB" sz="2800" b="1">
                <a:solidFill>
                  <a:schemeClr val="accent5"/>
                </a:solidFill>
              </a:rPr>
            </a:br>
            <a:r>
              <a:rPr lang="en-GB" sz="2800" b="1">
                <a:solidFill>
                  <a:schemeClr val="accent5"/>
                </a:solidFill>
              </a:rPr>
              <a:t>Flood Resilience Strategy</a:t>
            </a:r>
            <a:r>
              <a:rPr lang="en-GB" sz="2800">
                <a:solidFill>
                  <a:schemeClr val="accent5"/>
                </a:solidFill>
              </a:rPr>
              <a:t> </a:t>
            </a:r>
            <a:br>
              <a:rPr lang="en-GB" sz="2800">
                <a:solidFill>
                  <a:schemeClr val="accent5"/>
                </a:solidFill>
                <a:cs typeface="Arial"/>
              </a:rPr>
            </a:br>
            <a:br>
              <a:rPr lang="en-GB" sz="2800"/>
            </a:br>
            <a:r>
              <a:rPr lang="en-GB" sz="2800">
                <a:solidFill>
                  <a:schemeClr val="accent5"/>
                </a:solidFill>
              </a:rPr>
              <a:t>Consultation Engagement Session 3</a:t>
            </a:r>
            <a:b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GB" sz="2000" b="1">
                <a:solidFill>
                  <a:schemeClr val="accent5"/>
                </a:solidFill>
              </a:rPr>
            </a:br>
            <a:br>
              <a:rPr lang="en-GB" sz="1600" b="1">
                <a:solidFill>
                  <a:schemeClr val="accent5"/>
                </a:solidFill>
              </a:rPr>
            </a:br>
            <a:br>
              <a:rPr lang="en-GB" sz="1600" b="1">
                <a:solidFill>
                  <a:schemeClr val="accent5"/>
                </a:solidFill>
              </a:rPr>
            </a:br>
            <a:r>
              <a:rPr lang="en-GB" sz="1600">
                <a:solidFill>
                  <a:schemeClr val="accent5"/>
                </a:solidFill>
              </a:rPr>
              <a:t>31 July</a:t>
            </a:r>
            <a:r>
              <a:rPr lang="en-GB" sz="1600" b="1">
                <a:solidFill>
                  <a:schemeClr val="accent5"/>
                </a:solidFill>
              </a:rPr>
              <a:t> 2024</a:t>
            </a:r>
            <a:br>
              <a:rPr lang="en-GB" sz="1600" b="1">
                <a:solidFill>
                  <a:schemeClr val="accent5"/>
                </a:solidFill>
              </a:rPr>
            </a:br>
            <a:br>
              <a:rPr lang="en-GB" sz="1600" b="1">
                <a:solidFill>
                  <a:schemeClr val="accent5"/>
                </a:solidFill>
              </a:rPr>
            </a:br>
            <a:r>
              <a:rPr lang="en-GB" sz="1600" b="1">
                <a:solidFill>
                  <a:schemeClr val="accent5"/>
                </a:solidFill>
              </a:rPr>
              <a:t>David Faichney and Billy Pugh</a:t>
            </a:r>
            <a:br>
              <a:rPr lang="en-GB" sz="1400" b="1">
                <a:solidFill>
                  <a:schemeClr val="accent5"/>
                </a:solidFill>
              </a:rPr>
            </a:br>
            <a:endParaRPr lang="en-GB" sz="1400">
              <a:solidFill>
                <a:schemeClr val="accent5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E82C6F-9DA7-805B-BF97-E74C667AFFDC}"/>
              </a:ext>
            </a:extLst>
          </p:cNvPr>
          <p:cNvSpPr txBox="1"/>
          <p:nvPr/>
        </p:nvSpPr>
        <p:spPr>
          <a:xfrm>
            <a:off x="250794" y="1694713"/>
            <a:ext cx="60945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br>
              <a:rPr lang="en-GB" b="0" i="0">
                <a:solidFill>
                  <a:srgbClr val="252423"/>
                </a:solidFill>
                <a:effectLst/>
                <a:latin typeface="-apple-system"/>
              </a:rPr>
            </a:br>
            <a:endParaRPr lang="en-GB" b="0" i="0">
              <a:solidFill>
                <a:srgbClr val="252423"/>
              </a:solidFill>
              <a:effectLst/>
              <a:latin typeface="-apple-system"/>
            </a:endParaRPr>
          </a:p>
          <a:p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96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797"/>
    </mc:Choice>
    <mc:Fallback xmlns="">
      <p:transition spd="slow" advTm="17797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269F3-246B-8C3C-921A-E9B8DACD6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96" y="88026"/>
            <a:ext cx="10972800" cy="1143000"/>
          </a:xfrm>
        </p:spPr>
        <p:txBody>
          <a:bodyPr wrap="square" anchor="ctr">
            <a:normAutofit/>
          </a:bodyPr>
          <a:lstStyle/>
          <a:p>
            <a:r>
              <a:rPr lang="en-GB"/>
              <a:t>Consultation document structure</a:t>
            </a:r>
            <a:br>
              <a:rPr lang="en-GB"/>
            </a:br>
            <a:endParaRPr lang="en-GB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4071C65-9416-5A43-116A-633EEA69FC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0029636"/>
              </p:ext>
            </p:extLst>
          </p:nvPr>
        </p:nvGraphicFramePr>
        <p:xfrm>
          <a:off x="639386" y="765110"/>
          <a:ext cx="8607251" cy="6092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4284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3956"/>
    </mc:Choice>
    <mc:Fallback xmlns="">
      <p:transition spd="slow" advTm="103956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269F3-246B-8C3C-921A-E9B8DACD6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 wrap="square" anchor="ctr">
            <a:normAutofit/>
          </a:bodyPr>
          <a:lstStyle/>
          <a:p>
            <a:r>
              <a:rPr lang="en-GB"/>
              <a:t>Involving people more</a:t>
            </a:r>
            <a:br>
              <a:rPr lang="en-GB"/>
            </a:br>
            <a:endParaRPr lang="en-GB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3D828FB-30DD-0148-A9D1-41368AD2D33B}"/>
              </a:ext>
            </a:extLst>
          </p:cNvPr>
          <p:cNvGraphicFramePr>
            <a:graphicFrameLocks noGrp="1"/>
          </p:cNvGraphicFramePr>
          <p:nvPr>
            <p:ph sz="quarter" idx="4"/>
          </p:nvPr>
        </p:nvGraphicFramePr>
        <p:xfrm>
          <a:off x="402170" y="1250302"/>
          <a:ext cx="9628238" cy="4748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808C34DD-B495-4502-7715-531C457ECEF9}"/>
              </a:ext>
            </a:extLst>
          </p:cNvPr>
          <p:cNvSpPr/>
          <p:nvPr/>
        </p:nvSpPr>
        <p:spPr>
          <a:xfrm>
            <a:off x="9321282" y="1754155"/>
            <a:ext cx="2220685" cy="1595535"/>
          </a:xfrm>
          <a:prstGeom prst="wedgeEllipse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How can our people contribute to our flood resilience?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649684F-793D-9E05-299E-8CB09E780A01}"/>
              </a:ext>
            </a:extLst>
          </p:cNvPr>
          <p:cNvSpPr txBox="1"/>
          <p:nvPr/>
        </p:nvSpPr>
        <p:spPr>
          <a:xfrm>
            <a:off x="138441" y="6133876"/>
            <a:ext cx="33026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...</a:t>
            </a:r>
            <a:r>
              <a:rPr lang="en-US" b="1">
                <a:cs typeface="Arial"/>
              </a:rPr>
              <a:t>education</a:t>
            </a:r>
            <a:r>
              <a:rPr lang="en-US">
                <a:cs typeface="Arial"/>
              </a:rPr>
              <a:t> too - from early school years on. </a:t>
            </a:r>
            <a:endParaRPr lang="en-US"/>
          </a:p>
        </p:txBody>
      </p:sp>
      <p:pic>
        <p:nvPicPr>
          <p:cNvPr id="76" name="Graphic 75" descr="Graduation cap with solid fill">
            <a:extLst>
              <a:ext uri="{FF2B5EF4-FFF2-40B4-BE49-F238E27FC236}">
                <a16:creationId xmlns:a16="http://schemas.microsoft.com/office/drawing/2014/main" id="{F298198A-DADA-92CA-7DAC-EE6E8A2430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051763" y="6076244"/>
            <a:ext cx="782697" cy="78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90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8357"/>
    </mc:Choice>
    <mc:Fallback xmlns="">
      <p:transition spd="slow" advTm="28357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94FD2-9A85-E6BD-A6EC-910E65061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eople discussion – 15 minu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88D5B0-DCFF-7CD9-52A5-56E0E79246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How can all relevant authorities work better with communities to make decisions about their places in future?</a:t>
            </a:r>
          </a:p>
          <a:p>
            <a:r>
              <a:rPr lang="en-GB"/>
              <a:t>What one thing would be most useful in ensuring communities are empowered to meaningfully contribute to decisions about their places?</a:t>
            </a:r>
          </a:p>
          <a:p>
            <a:r>
              <a:rPr lang="en-GB"/>
              <a:t>What role can education play in the building of flood resilience in Scotland?</a:t>
            </a:r>
          </a:p>
          <a:p>
            <a:endParaRPr lang="en-GB">
              <a:cs typeface="Arial"/>
            </a:endParaRPr>
          </a:p>
          <a:p>
            <a:endParaRPr lang="en-GB"/>
          </a:p>
          <a:p>
            <a:endParaRPr lang="en-GB">
              <a:cs typeface="Arial"/>
            </a:endParaRPr>
          </a:p>
          <a:p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09613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269F3-246B-8C3C-921A-E9B8DACD6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 wrap="square" anchor="ctr">
            <a:normAutofit/>
          </a:bodyPr>
          <a:lstStyle/>
          <a:p>
            <a:r>
              <a:rPr lang="en-GB"/>
              <a:t>Making the most of our plac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92867EC-5F69-C949-80E7-3C83EDBDC58C}"/>
              </a:ext>
            </a:extLst>
          </p:cNvPr>
          <p:cNvGraphicFramePr>
            <a:graphicFrameLocks noGrp="1"/>
          </p:cNvGraphicFramePr>
          <p:nvPr>
            <p:ph sz="quarter" idx="4"/>
          </p:nvPr>
        </p:nvGraphicFramePr>
        <p:xfrm>
          <a:off x="402170" y="1296955"/>
          <a:ext cx="8751161" cy="4655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34E4A9FE-1304-631A-1965-A142ADE678BF}"/>
              </a:ext>
            </a:extLst>
          </p:cNvPr>
          <p:cNvSpPr/>
          <p:nvPr/>
        </p:nvSpPr>
        <p:spPr>
          <a:xfrm>
            <a:off x="9321282" y="1754155"/>
            <a:ext cx="2220685" cy="1595535"/>
          </a:xfrm>
          <a:prstGeom prst="wedgeEllipse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 can our places contribute to our flood resilience?</a:t>
            </a:r>
          </a:p>
        </p:txBody>
      </p:sp>
    </p:spTree>
    <p:extLst>
      <p:ext uri="{BB962C8B-B14F-4D97-AF65-F5344CB8AC3E}">
        <p14:creationId xmlns:p14="http://schemas.microsoft.com/office/powerpoint/2010/main" val="247319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6885"/>
    </mc:Choice>
    <mc:Fallback xmlns="">
      <p:transition spd="slow" advTm="6688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94FD2-9A85-E6BD-A6EC-910E65061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laces discussion – 15 minut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88D5B0-DCFF-7CD9-52A5-56E0E79246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How can we ensure that our places are designed to be flood resilient in future?</a:t>
            </a:r>
          </a:p>
          <a:p>
            <a:r>
              <a:rPr lang="en-GB"/>
              <a:t>How best can we make space for water in our towns and cities? </a:t>
            </a:r>
          </a:p>
          <a:p>
            <a:r>
              <a:rPr lang="en-GB"/>
              <a:t>Should relocation be considered as an option in areas with the highest flood exposure?</a:t>
            </a:r>
            <a:endParaRPr lang="en-GB">
              <a:cs typeface="Arial"/>
            </a:endParaRPr>
          </a:p>
          <a:p>
            <a:endParaRPr lang="en-GB">
              <a:cs typeface="Arial"/>
            </a:endParaRPr>
          </a:p>
          <a:p>
            <a:endParaRPr lang="en-GB"/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3797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269F3-246B-8C3C-921A-E9B8DACD6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 wrap="square" anchor="ctr">
            <a:normAutofit/>
          </a:bodyPr>
          <a:lstStyle/>
          <a:p>
            <a:r>
              <a:rPr lang="en-GB"/>
              <a:t>Improving processes to support the change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B35A1B6-4446-96D4-A7FD-AD2BF7A57254}"/>
              </a:ext>
            </a:extLst>
          </p:cNvPr>
          <p:cNvGraphicFramePr>
            <a:graphicFrameLocks noGrp="1"/>
          </p:cNvGraphicFramePr>
          <p:nvPr>
            <p:ph sz="quarter" idx="4"/>
            <p:extLst>
              <p:ext uri="{D42A27DB-BD31-4B8C-83A1-F6EECF244321}">
                <p14:modId xmlns:p14="http://schemas.microsoft.com/office/powerpoint/2010/main" val="1011135001"/>
              </p:ext>
            </p:extLst>
          </p:nvPr>
        </p:nvGraphicFramePr>
        <p:xfrm>
          <a:off x="478370" y="2030942"/>
          <a:ext cx="8079357" cy="3951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peech Bubble: Oval 3">
            <a:extLst>
              <a:ext uri="{FF2B5EF4-FFF2-40B4-BE49-F238E27FC236}">
                <a16:creationId xmlns:a16="http://schemas.microsoft.com/office/drawing/2014/main" id="{DC8C86BE-CA60-EFC0-0B6D-3386A2DDDF62}"/>
              </a:ext>
            </a:extLst>
          </p:cNvPr>
          <p:cNvSpPr/>
          <p:nvPr/>
        </p:nvSpPr>
        <p:spPr>
          <a:xfrm>
            <a:off x="9321282" y="1754155"/>
            <a:ext cx="2220685" cy="1595535"/>
          </a:xfrm>
          <a:prstGeom prst="wedgeEllipse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How can our processes contribute to our flood resilience?</a:t>
            </a:r>
          </a:p>
        </p:txBody>
      </p:sp>
    </p:spTree>
    <p:extLst>
      <p:ext uri="{BB962C8B-B14F-4D97-AF65-F5344CB8AC3E}">
        <p14:creationId xmlns:p14="http://schemas.microsoft.com/office/powerpoint/2010/main" val="342451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2452"/>
    </mc:Choice>
    <mc:Fallback xmlns="">
      <p:transition spd="slow" advTm="32452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94FD2-9A85-E6BD-A6EC-910E65061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rocesses discussion – 15 minut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88D5B0-DCFF-7CD9-52A5-56E0E79246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  <a:p>
            <a:r>
              <a:rPr lang="en-GB"/>
              <a:t>How can we improve the efficiency and diversity of flood management actions?</a:t>
            </a:r>
          </a:p>
          <a:p>
            <a:r>
              <a:rPr lang="en-GB"/>
              <a:t>Other than large flood protection schemes, what kinds of flood resilience- building activities should be prioritised?</a:t>
            </a:r>
          </a:p>
          <a:p>
            <a:r>
              <a:rPr lang="en-GB">
                <a:cs typeface="Arial"/>
              </a:rPr>
              <a:t>What support is required to enable change?</a:t>
            </a:r>
          </a:p>
          <a:p>
            <a:endParaRPr lang="en-GB"/>
          </a:p>
          <a:p>
            <a:r>
              <a:rPr lang="en-GB"/>
              <a:t>What is your biggest concern about flooding? </a:t>
            </a:r>
          </a:p>
          <a:p>
            <a:r>
              <a:rPr lang="en-GB"/>
              <a:t>What one thing would you do to improve Scotland’s flood resilience? </a:t>
            </a:r>
          </a:p>
        </p:txBody>
      </p:sp>
    </p:spTree>
    <p:extLst>
      <p:ext uri="{BB962C8B-B14F-4D97-AF65-F5344CB8AC3E}">
        <p14:creationId xmlns:p14="http://schemas.microsoft.com/office/powerpoint/2010/main" val="42938820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D03F0F-0C36-7580-EFE5-1C2697273F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sultation details 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D94889-02AB-49C6-EA58-B13314FE76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Open until Tuesday 13 August</a:t>
            </a:r>
            <a:endParaRPr lang="en-GB">
              <a:hlinkClick r:id="rId2"/>
            </a:endParaRPr>
          </a:p>
          <a:p>
            <a:r>
              <a:rPr lang="en-GB">
                <a:hlinkClick r:id="rId2"/>
              </a:rPr>
              <a:t>Flood Resilience Strategy: consultation - Scottish Government consultations - Citizen Space</a:t>
            </a:r>
            <a:endParaRPr lang="en-GB"/>
          </a:p>
          <a:p>
            <a:r>
              <a:rPr lang="en-GB">
                <a:hlinkClick r:id="rId3"/>
              </a:rPr>
              <a:t>Flood resilience strategy: consultation - </a:t>
            </a:r>
            <a:r>
              <a:rPr lang="en-GB" err="1">
                <a:hlinkClick r:id="rId3"/>
              </a:rPr>
              <a:t>gov.scot</a:t>
            </a:r>
            <a:r>
              <a:rPr lang="en-GB">
                <a:hlinkClick r:id="rId3"/>
              </a:rPr>
              <a:t> (www.gov.scot)</a:t>
            </a:r>
            <a:endParaRPr lang="en-GB"/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0450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A8D7E0-984D-B69F-CD38-4CE3AFA9B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ession Structur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AF21982-74E4-B30E-AC92-7FD0DB846C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2770471"/>
              </p:ext>
            </p:extLst>
          </p:nvPr>
        </p:nvGraphicFramePr>
        <p:xfrm>
          <a:off x="609600" y="1600200"/>
          <a:ext cx="10972800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3480663011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50674857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S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Tim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8102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Welcome and introduction to the Flood Resilience Strategy (F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400 -14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69032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FRS Public consul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/>
                        <a:t>1415 - 14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97753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iscussion: Guiding Princi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420 - 14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308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iscussion: Peop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435 - 145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8174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iscussion: Pla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450 - 15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5455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iscussion: Proce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505 - 15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4805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Wrap up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520 - 153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11872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9870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0D7C1-3023-67D3-0B80-BE28D6583A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89204" y="3024753"/>
            <a:ext cx="10972800" cy="4525963"/>
          </a:xfrm>
        </p:spPr>
        <p:txBody>
          <a:bodyPr/>
          <a:lstStyle/>
          <a:p>
            <a:pPr marL="0" indent="0">
              <a:buNone/>
            </a:pPr>
            <a:r>
              <a:rPr lang="en-GB" sz="8800">
                <a:solidFill>
                  <a:schemeClr val="accent5"/>
                </a:solidFill>
              </a:rPr>
              <a:t>Why</a:t>
            </a:r>
            <a:r>
              <a:rPr lang="en-GB" sz="9600">
                <a:solidFill>
                  <a:schemeClr val="accent5"/>
                </a:solidFill>
              </a:rPr>
              <a:t>?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444F971-7297-7E05-B3C7-2264A3C88064}"/>
              </a:ext>
            </a:extLst>
          </p:cNvPr>
          <p:cNvGraphicFramePr/>
          <p:nvPr/>
        </p:nvGraphicFramePr>
        <p:xfrm>
          <a:off x="3698165" y="1385519"/>
          <a:ext cx="7456774" cy="4811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A2521A-D4AF-F6CF-2704-62FA1CD1B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987" y="0"/>
            <a:ext cx="10972800" cy="1143000"/>
          </a:xfrm>
        </p:spPr>
        <p:txBody>
          <a:bodyPr/>
          <a:lstStyle/>
          <a:p>
            <a:r>
              <a:rPr lang="en-GB"/>
              <a:t>The National Flood Resilience Strategy</a:t>
            </a:r>
          </a:p>
        </p:txBody>
      </p:sp>
      <p:pic>
        <p:nvPicPr>
          <p:cNvPr id="6" name="Graphic 5" descr="Badge 1 with solid fill">
            <a:extLst>
              <a:ext uri="{FF2B5EF4-FFF2-40B4-BE49-F238E27FC236}">
                <a16:creationId xmlns:a16="http://schemas.microsoft.com/office/drawing/2014/main" id="{E62202D9-B630-5A5C-BD03-F770B0F467E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68245" y="4603955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D0DC18-DD5C-4737-60DA-F19FC613BA02}"/>
              </a:ext>
            </a:extLst>
          </p:cNvPr>
          <p:cNvSpPr txBox="1"/>
          <p:nvPr/>
        </p:nvSpPr>
        <p:spPr>
          <a:xfrm>
            <a:off x="914400" y="5417574"/>
            <a:ext cx="27137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ooding is our biggest domestic climate adaptation 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F910B4-6803-CDEE-484F-14BD4F1E8C92}"/>
              </a:ext>
            </a:extLst>
          </p:cNvPr>
          <p:cNvSpPr txBox="1"/>
          <p:nvPr/>
        </p:nvSpPr>
        <p:spPr>
          <a:xfrm>
            <a:off x="9178413" y="978310"/>
            <a:ext cx="271370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key part of 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AP3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1" i="1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formerly known as </a:t>
            </a:r>
            <a:r>
              <a:rPr kumimoji="0" lang="en-GB" sz="1400" b="1" i="1" u="none" strike="noStrike" kern="1200" cap="none" spc="0" normalizeH="0" baseline="0" noProof="0" err="1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CAP3</a:t>
            </a:r>
            <a:r>
              <a:rPr kumimoji="0" lang="en-GB" sz="1400" b="1" i="1" u="none" strike="noStrike" kern="1200" cap="none" spc="0" normalizeH="0" baseline="0" noProof="0">
                <a:ln>
                  <a:noFill/>
                </a:ln>
                <a:solidFill>
                  <a:srgbClr val="0065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en-GB" sz="1600" b="1" i="1" u="none" strike="noStrike" kern="1200" cap="none" spc="0" normalizeH="0" baseline="0" noProof="0">
              <a:ln>
                <a:noFill/>
              </a:ln>
              <a:solidFill>
                <a:srgbClr val="0065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90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4505"/>
    </mc:Choice>
    <mc:Fallback xmlns="">
      <p:transition spd="slow" advTm="44505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E81957-738C-83E7-E3C4-2CA428C61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 Stronger &amp; More Resilient Scotland - The Programme for Government 2022 - 2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B235DB-D5ED-A56A-62BE-C09D6486C9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50" y="1009655"/>
            <a:ext cx="10972800" cy="4525963"/>
          </a:xfrm>
        </p:spPr>
        <p:txBody>
          <a:bodyPr/>
          <a:lstStyle/>
          <a:p>
            <a:endParaRPr lang="en-GB"/>
          </a:p>
          <a:p>
            <a:pPr marL="0" indent="0">
              <a:buNone/>
            </a:pPr>
            <a:endParaRPr lang="en-GB"/>
          </a:p>
          <a:p>
            <a:pPr marL="0" indent="0">
              <a:buNone/>
            </a:pPr>
            <a:r>
              <a:rPr lang="en-GB" i="1"/>
              <a:t>Consult on a new flooding strategy for Scotland, including how we can build community flood resilience and engage a broader range of delivery partners to deliver more diverse flood management actions faster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5AABDE1-40CB-9358-7C46-DB66B904A9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9737" y="3154543"/>
            <a:ext cx="3477937" cy="2794286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D67DEF39-41BA-0636-E8A3-F117CFACC417}"/>
              </a:ext>
            </a:extLst>
          </p:cNvPr>
          <p:cNvGraphicFramePr/>
          <p:nvPr/>
        </p:nvGraphicFramePr>
        <p:xfrm>
          <a:off x="631825" y="2819400"/>
          <a:ext cx="6588125" cy="44619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8" name="Graphic 7" descr="Map compass with solid fill">
            <a:extLst>
              <a:ext uri="{FF2B5EF4-FFF2-40B4-BE49-F238E27FC236}">
                <a16:creationId xmlns:a16="http://schemas.microsoft.com/office/drawing/2014/main" id="{D4AB64FB-B325-72C3-FC4D-FBF17459E93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6334125" y="4705350"/>
            <a:ext cx="66675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7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698"/>
    </mc:Choice>
    <mc:Fallback xmlns="">
      <p:transition spd="slow" advTm="46698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269F3-246B-8C3C-921A-E9B8DACD6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948" y="-161059"/>
            <a:ext cx="9587342" cy="1162050"/>
          </a:xfrm>
        </p:spPr>
        <p:txBody>
          <a:bodyPr wrap="square" anchor="b">
            <a:normAutofit/>
          </a:bodyPr>
          <a:lstStyle/>
          <a:p>
            <a:r>
              <a:rPr lang="en-GB" sz="2800"/>
              <a:t>What is the purpose of the Flood Resilience Strategy?</a:t>
            </a:r>
          </a:p>
        </p:txBody>
      </p:sp>
      <p:graphicFrame>
        <p:nvGraphicFramePr>
          <p:cNvPr id="14" name="Content Placeholder 2">
            <a:extLst>
              <a:ext uri="{FF2B5EF4-FFF2-40B4-BE49-F238E27FC236}">
                <a16:creationId xmlns:a16="http://schemas.microsoft.com/office/drawing/2014/main" id="{A9ACDA49-4261-244F-D27D-652D5AB32E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0927811"/>
              </p:ext>
            </p:extLst>
          </p:nvPr>
        </p:nvGraphicFramePr>
        <p:xfrm>
          <a:off x="841279" y="1584618"/>
          <a:ext cx="8275012" cy="36339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AD6F060-6AEA-C18F-485C-AAB88E92386D}"/>
              </a:ext>
            </a:extLst>
          </p:cNvPr>
          <p:cNvSpPr txBox="1"/>
          <p:nvPr/>
        </p:nvSpPr>
        <p:spPr>
          <a:xfrm>
            <a:off x="942109" y="5754255"/>
            <a:ext cx="58189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…reducing </a:t>
            </a:r>
            <a:r>
              <a:rPr lang="en-GB" sz="2400"/>
              <a:t>flood exposure </a:t>
            </a:r>
            <a:r>
              <a:rPr lang="en-GB"/>
              <a:t>by all available means </a:t>
            </a:r>
          </a:p>
        </p:txBody>
      </p:sp>
      <p:pic>
        <p:nvPicPr>
          <p:cNvPr id="19" name="Graphic 18" descr="Highway scene with solid fill">
            <a:extLst>
              <a:ext uri="{FF2B5EF4-FFF2-40B4-BE49-F238E27FC236}">
                <a16:creationId xmlns:a16="http://schemas.microsoft.com/office/drawing/2014/main" id="{753BD912-7FC6-7FEF-3AA5-943615D4A8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7564" y="1715655"/>
            <a:ext cx="762000" cy="762000"/>
          </a:xfrm>
          <a:prstGeom prst="rect">
            <a:avLst/>
          </a:prstGeom>
        </p:spPr>
      </p:pic>
      <p:pic>
        <p:nvPicPr>
          <p:cNvPr id="21" name="Graphic 20" descr="Meeting with solid fill">
            <a:extLst>
              <a:ext uri="{FF2B5EF4-FFF2-40B4-BE49-F238E27FC236}">
                <a16:creationId xmlns:a16="http://schemas.microsoft.com/office/drawing/2014/main" id="{676DEF06-970A-02F4-B9CA-5E86C2E8BA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3673" y="2953328"/>
            <a:ext cx="914400" cy="914400"/>
          </a:xfrm>
          <a:prstGeom prst="rect">
            <a:avLst/>
          </a:prstGeom>
        </p:spPr>
      </p:pic>
      <p:pic>
        <p:nvPicPr>
          <p:cNvPr id="23" name="Graphic 22" descr="Clipboard Ticked with solid fill">
            <a:extLst>
              <a:ext uri="{FF2B5EF4-FFF2-40B4-BE49-F238E27FC236}">
                <a16:creationId xmlns:a16="http://schemas.microsoft.com/office/drawing/2014/main" id="{4895A95C-80C7-2B9A-F18C-C035B3E8042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92909" y="4218709"/>
            <a:ext cx="914400" cy="914400"/>
          </a:xfrm>
          <a:prstGeom prst="rect">
            <a:avLst/>
          </a:prstGeom>
        </p:spPr>
      </p:pic>
      <p:sp>
        <p:nvSpPr>
          <p:cNvPr id="24" name="Speech Bubble: Oval 23">
            <a:extLst>
              <a:ext uri="{FF2B5EF4-FFF2-40B4-BE49-F238E27FC236}">
                <a16:creationId xmlns:a16="http://schemas.microsoft.com/office/drawing/2014/main" id="{593A39DA-3593-8DCB-3E68-E2DF94E4A770}"/>
              </a:ext>
            </a:extLst>
          </p:cNvPr>
          <p:cNvSpPr/>
          <p:nvPr/>
        </p:nvSpPr>
        <p:spPr>
          <a:xfrm>
            <a:off x="9356437" y="1450109"/>
            <a:ext cx="2595418" cy="1985818"/>
          </a:xfrm>
          <a:prstGeom prst="wedgeEllipse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Make the best use of all available resources</a:t>
            </a:r>
          </a:p>
        </p:txBody>
      </p:sp>
    </p:spTree>
    <p:extLst>
      <p:ext uri="{BB962C8B-B14F-4D97-AF65-F5344CB8AC3E}">
        <p14:creationId xmlns:p14="http://schemas.microsoft.com/office/powerpoint/2010/main" val="190305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1848"/>
    </mc:Choice>
    <mc:Fallback xmlns="">
      <p:transition spd="slow" advTm="31848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FEB86-76E2-28ED-838A-863801F8B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/>
              <a:t>What does flood resilience look like?</a:t>
            </a:r>
            <a:endParaRPr lang="en-GB"/>
          </a:p>
        </p:txBody>
      </p:sp>
      <p:pic>
        <p:nvPicPr>
          <p:cNvPr id="4" name="Picture 3" descr="A comparison of a flooded area&#10;&#10;Description automatically generated with medium confidence">
            <a:extLst>
              <a:ext uri="{FF2B5EF4-FFF2-40B4-BE49-F238E27FC236}">
                <a16:creationId xmlns:a16="http://schemas.microsoft.com/office/drawing/2014/main" id="{03D3A1EA-C3FE-DE3C-A83E-B228712574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356" y="1158882"/>
            <a:ext cx="9469013" cy="501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554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BCF5FE-F40D-AA27-1BFF-BBD863654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 </a:t>
            </a:r>
          </a:p>
        </p:txBody>
      </p:sp>
      <p:pic>
        <p:nvPicPr>
          <p:cNvPr id="5" name="Content Placeholder 4" descr="A map of a village and a river&#10;&#10;Description automatically generated with medium confidence">
            <a:extLst>
              <a:ext uri="{FF2B5EF4-FFF2-40B4-BE49-F238E27FC236}">
                <a16:creationId xmlns:a16="http://schemas.microsoft.com/office/drawing/2014/main" id="{01C36DE6-5E6E-F448-432D-D2172966BA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84" y="413085"/>
            <a:ext cx="10603832" cy="5616283"/>
          </a:xfrm>
        </p:spPr>
      </p:pic>
    </p:spTree>
    <p:extLst>
      <p:ext uri="{BB962C8B-B14F-4D97-AF65-F5344CB8AC3E}">
        <p14:creationId xmlns:p14="http://schemas.microsoft.com/office/powerpoint/2010/main" val="4192483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4CF8B5-AF5F-F9F6-1FC6-112FF53FDF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17CF3E-02D1-DBF8-3E77-23604EA87E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3787" y="1369385"/>
            <a:ext cx="10972800" cy="4525963"/>
          </a:xfrm>
        </p:spPr>
        <p:txBody>
          <a:bodyPr/>
          <a:lstStyle/>
          <a:p>
            <a:pPr marL="0" indent="0">
              <a:spcAft>
                <a:spcPts val="0"/>
              </a:spcAft>
              <a:buNone/>
            </a:pPr>
            <a:endParaRPr lang="en-GB" sz="20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6000"/>
              </a:lnSpc>
              <a:buFont typeface="+mj-lt"/>
              <a:buAutoNum type="arabicPeriod"/>
            </a:pP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e will change the focus from </a:t>
            </a:r>
            <a:r>
              <a:rPr lang="en-GB" sz="2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‘fixing flooding problems’</a:t>
            </a: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en-GB" sz="20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reating flood resilient places</a:t>
            </a: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GB" sz="20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6000"/>
              </a:lnSpc>
              <a:buFont typeface="+mj-lt"/>
              <a:buAutoNum type="arabicPeriod"/>
            </a:pP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lood resilience is part of community resilience and </a:t>
            </a:r>
            <a:r>
              <a:rPr lang="en-GB" sz="20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art of adapting to climate change</a:t>
            </a: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so everyone has a role to play. </a:t>
            </a:r>
            <a:endParaRPr lang="en-GB" sz="20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6000"/>
              </a:lnSpc>
              <a:buFont typeface="+mj-lt"/>
              <a:buAutoNum type="arabicPeriod"/>
            </a:pP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t the heart of our flood resilience activities will lie the principles of a </a:t>
            </a:r>
            <a:r>
              <a:rPr lang="en-GB" sz="20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Just Transition</a:t>
            </a: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2000" i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to secure a fairer, greener future for all by working in partnership to deliver fairness and tackle inequality and injustice).</a:t>
            </a:r>
            <a:endParaRPr lang="en-GB" sz="20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6000"/>
              </a:lnSpc>
              <a:buFont typeface="+mj-lt"/>
              <a:buAutoNum type="arabicPeriod"/>
            </a:pPr>
            <a:r>
              <a:rPr lang="en-GB" sz="20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000" b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GB" sz="2000" b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yone benefits </a:t>
            </a:r>
            <a:r>
              <a:rPr lang="en-GB" sz="200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rom flood resilient places, and we all have a contribution to make.</a:t>
            </a:r>
            <a:endParaRPr lang="en-GB" sz="200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94933E4-67DB-3B19-E214-606D2ED44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uiding principles</a:t>
            </a:r>
          </a:p>
        </p:txBody>
      </p:sp>
    </p:spTree>
    <p:extLst>
      <p:ext uri="{BB962C8B-B14F-4D97-AF65-F5344CB8AC3E}">
        <p14:creationId xmlns:p14="http://schemas.microsoft.com/office/powerpoint/2010/main" val="247887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797"/>
    </mc:Choice>
    <mc:Fallback xmlns="">
      <p:transition spd="slow" advTm="17797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94FD2-9A85-E6BD-A6EC-910E65061E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uiding principles discussion – 15 minu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88D5B0-DCFF-7CD9-52A5-56E0E79246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/>
              <a:t>Do you agree with the transition from “fixing flooding problems” to creating flood resilient places? </a:t>
            </a:r>
          </a:p>
          <a:p>
            <a:r>
              <a:rPr lang="en-GB"/>
              <a:t>Do you agree with the proposed guiding principles? Are there any changes you would suggest?</a:t>
            </a:r>
          </a:p>
          <a:p>
            <a:r>
              <a:rPr lang="en-GB"/>
              <a:t>How do we ensure that our work to build flood resilience is fair and aligns with the principles of a Just Transition?</a:t>
            </a:r>
            <a:endParaRPr lang="en-GB">
              <a:cs typeface="Arial"/>
            </a:endParaRPr>
          </a:p>
          <a:p>
            <a:endParaRPr lang="en-GB"/>
          </a:p>
          <a:p>
            <a:endParaRPr lang="en-GB"/>
          </a:p>
        </p:txBody>
      </p:sp>
      <p:sp>
        <p:nvSpPr>
          <p:cNvPr id="4" name="Flowchart: Process 3">
            <a:extLst>
              <a:ext uri="{FF2B5EF4-FFF2-40B4-BE49-F238E27FC236}">
                <a16:creationId xmlns:a16="http://schemas.microsoft.com/office/drawing/2014/main" id="{1414A277-E931-7198-229D-2D94E33D5BE6}"/>
              </a:ext>
            </a:extLst>
          </p:cNvPr>
          <p:cNvSpPr/>
          <p:nvPr/>
        </p:nvSpPr>
        <p:spPr>
          <a:xfrm>
            <a:off x="1932175" y="4388064"/>
            <a:ext cx="5715000" cy="1642533"/>
          </a:xfrm>
          <a:prstGeom prst="flowChartProcess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sz="1200" b="1">
                <a:solidFill>
                  <a:srgbClr val="333333"/>
                </a:solidFill>
                <a:latin typeface="Roboto"/>
                <a:ea typeface="Roboto"/>
                <a:cs typeface="Roboto"/>
              </a:rPr>
              <a:t>What is a just transition?</a:t>
            </a:r>
          </a:p>
          <a:p>
            <a:r>
              <a:rPr lang="en-US" sz="1200">
                <a:solidFill>
                  <a:srgbClr val="333333"/>
                </a:solidFill>
                <a:latin typeface="Roboto"/>
                <a:ea typeface="Roboto"/>
                <a:cs typeface="Roboto"/>
              </a:rPr>
              <a:t>A just transition is both the outcome – a fairer, greener future for all – and the process that must be undertaken in partnership with those impacted by the transition to net zero. Just transition is how we get to net zero and a climate resilient society and economy, in a way that delivers fairness and tackles inequality and injustice.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1105790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1_Scottish Government 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1EBC16F1BC7F41B8EA90A5960E74B1" ma:contentTypeVersion="7" ma:contentTypeDescription="Create a new document." ma:contentTypeScope="" ma:versionID="c019e33b11b948ad5159525792a353dc">
  <xsd:schema xmlns:xsd="http://www.w3.org/2001/XMLSchema" xmlns:xs="http://www.w3.org/2001/XMLSchema" xmlns:p="http://schemas.microsoft.com/office/2006/metadata/properties" xmlns:ns2="89304b22-9f9c-4449-a334-dcbbdccbca41" xmlns:ns3="5e71eb6d-3af8-4c4b-bff2-23c2bc0abedf" targetNamespace="http://schemas.microsoft.com/office/2006/metadata/properties" ma:root="true" ma:fieldsID="f218d9e57037cb52d762bacd379a5ffb" ns2:_="" ns3:_="">
    <xsd:import namespace="89304b22-9f9c-4449-a334-dcbbdccbca41"/>
    <xsd:import namespace="5e71eb6d-3af8-4c4b-bff2-23c2bc0abe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304b22-9f9c-4449-a334-dcbbdccbca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71eb6d-3af8-4c4b-bff2-23c2bc0abed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e71eb6d-3af8-4c4b-bff2-23c2bc0abedf">
      <UserInfo>
        <DisplayName>David Faichney</DisplayName>
        <AccountId>12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metadata xmlns="http://www.objective.com/ecm/document/metadata/53D26341A57B383EE0540010E0463CCA" version="1.0.0">
  <systemFields>
    <field name="Objective-Id">
      <value order="0">A43943339</value>
    </field>
    <field name="Objective-Title">
      <value order="0">Flood Resilience Strategy - slide pack for presentation to Cab Sec for NZJT - 7 June 2023</value>
    </field>
    <field name="Objective-Description">
      <value order="0"/>
    </field>
    <field name="Objective-CreationStamp">
      <value order="0">2023-05-11T06:35:05Z</value>
    </field>
    <field name="Objective-IsApproved">
      <value order="0">false</value>
    </field>
    <field name="Objective-IsPublished">
      <value order="0">false</value>
    </field>
    <field name="Objective-DatePublished">
      <value order="0"/>
    </field>
    <field name="Objective-ModificationStamp">
      <value order="0">2023-06-02T11:14:55Z</value>
    </field>
    <field name="Objective-Owner">
      <value order="0">O'Neill, Michelagh M (U446277)</value>
    </field>
    <field name="Objective-Path">
      <value order="0">Objective Global Folder:SG File Plan:Agriculture, environment and natural resources:Land:Flooding:Advice and policy: Flooding:Flood Resilience Strategy: 2023-2028</value>
    </field>
    <field name="Objective-Parent">
      <value order="0">Flood Resilience Strategy: 2023-2028</value>
    </field>
    <field name="Objective-State">
      <value order="0">Being Drafted</value>
    </field>
    <field name="Objective-VersionId">
      <value order="0">vA65651541</value>
    </field>
    <field name="Objective-Version">
      <value order="0">0.4</value>
    </field>
    <field name="Objective-VersionNumber">
      <value order="0">4</value>
    </field>
    <field name="Objective-VersionComment">
      <value order="0">scoping slide slim-down</value>
    </field>
    <field name="Objective-FileNumber">
      <value order="0">POL/40104</value>
    </field>
    <field name="Objective-Classification">
      <value order="0">OFFICIAL</value>
    </field>
    <field name="Objective-Caveats">
      <value order="0">Caveat for access to SG Fileplan</value>
    </field>
  </systemFields>
  <catalogues>
    <catalogue name="Document Type Catalogue" type="type" ori="id:cA35">
      <field name="Objective-Date of Original">
        <value order="0"/>
      </field>
      <field name="Objective-Date Received">
        <value order="0"/>
      </field>
      <field name="Objective-SG Web Publication - Category">
        <value order="0"/>
      </field>
      <field name="Objective-SG Web Publication - Category 2 Classification">
        <value order="0"/>
      </field>
      <field name="Objective-Connect Creator">
        <value order="0"/>
      </field>
      <field name="Objective-Required Redaction">
        <value order="0"/>
      </field>
    </catalogue>
  </catalogues>
</metadata>
</file>

<file path=customXml/itemProps1.xml><?xml version="1.0" encoding="utf-8"?>
<ds:datastoreItem xmlns:ds="http://schemas.openxmlformats.org/officeDocument/2006/customXml" ds:itemID="{F09115AB-8323-4E36-8B66-6F9E3F982A4F}">
  <ds:schemaRefs>
    <ds:schemaRef ds:uri="5e71eb6d-3af8-4c4b-bff2-23c2bc0abedf"/>
    <ds:schemaRef ds:uri="89304b22-9f9c-4449-a334-dcbbdccbca4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A47EBCA-EEFF-4ED8-9A82-F87693E8421C}">
  <ds:schemaRefs>
    <ds:schemaRef ds:uri="5e71eb6d-3af8-4c4b-bff2-23c2bc0abedf"/>
    <ds:schemaRef ds:uri="89304b22-9f9c-4449-a334-dcbbdccbca4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1C05007-65FF-448F-AF53-64417D2AC3D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745109E-2DDF-40CB-AC2B-FF9B10C90820}">
  <ds:schemaRefs>
    <ds:schemaRef ds:uri="http://www.objective.com/ecm/document/metadata/53D26341A57B383EE0540010E0463CC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9</Words>
  <Application>Microsoft Office PowerPoint</Application>
  <PresentationFormat>Widescreen</PresentationFormat>
  <Paragraphs>133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-apple-system</vt:lpstr>
      <vt:lpstr>Arial</vt:lpstr>
      <vt:lpstr>Calibri</vt:lpstr>
      <vt:lpstr>Roboto</vt:lpstr>
      <vt:lpstr>Segoe UI</vt:lpstr>
      <vt:lpstr>1_Scottish Government White</vt:lpstr>
      <vt:lpstr>think-cell Slide</vt:lpstr>
      <vt:lpstr>      Flood Resilience Strategy   Consultation Engagement Session 3    31 July 2024  David Faichney and Billy Pugh </vt:lpstr>
      <vt:lpstr>Session Structure</vt:lpstr>
      <vt:lpstr>The National Flood Resilience Strategy</vt:lpstr>
      <vt:lpstr>A Stronger &amp; More Resilient Scotland - The Programme for Government 2022 - 23</vt:lpstr>
      <vt:lpstr>What is the purpose of the Flood Resilience Strategy?</vt:lpstr>
      <vt:lpstr>What does flood resilience look like?</vt:lpstr>
      <vt:lpstr> </vt:lpstr>
      <vt:lpstr>Guiding principles</vt:lpstr>
      <vt:lpstr>Guiding principles discussion – 15 minutes</vt:lpstr>
      <vt:lpstr>Consultation document structure </vt:lpstr>
      <vt:lpstr>Involving people more </vt:lpstr>
      <vt:lpstr>People discussion – 15 minutes</vt:lpstr>
      <vt:lpstr>Making the most of our places</vt:lpstr>
      <vt:lpstr>Places discussion – 15 minutes </vt:lpstr>
      <vt:lpstr>Improving processes to support the change</vt:lpstr>
      <vt:lpstr>Processes discussion – 15 minutes </vt:lpstr>
      <vt:lpstr>Consultation details  </vt:lpstr>
    </vt:vector>
  </TitlesOfParts>
  <Company>Scottish Govern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ichney D (David)</dc:creator>
  <cp:lastModifiedBy>Billy Pugh</cp:lastModifiedBy>
  <cp:revision>2</cp:revision>
  <dcterms:created xsi:type="dcterms:W3CDTF">2022-01-17T14:14:57Z</dcterms:created>
  <dcterms:modified xsi:type="dcterms:W3CDTF">2024-07-31T15:2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hecked by">
    <vt:lpwstr>32123</vt:lpwstr>
  </property>
  <property fmtid="{D5CDD505-2E9C-101B-9397-08002B2CF9AE}" pid="3" name="Objective-Id">
    <vt:lpwstr>A43943339</vt:lpwstr>
  </property>
  <property fmtid="{D5CDD505-2E9C-101B-9397-08002B2CF9AE}" pid="4" name="Objective-Title">
    <vt:lpwstr>Flood Resilience Strategy - slide pack for presentation to Cab Sec for NZJT - 7 June 2023</vt:lpwstr>
  </property>
  <property fmtid="{D5CDD505-2E9C-101B-9397-08002B2CF9AE}" pid="5" name="Objective-Description">
    <vt:lpwstr/>
  </property>
  <property fmtid="{D5CDD505-2E9C-101B-9397-08002B2CF9AE}" pid="6" name="Objective-CreationStamp">
    <vt:filetime>2023-05-11T06:35:05Z</vt:filetime>
  </property>
  <property fmtid="{D5CDD505-2E9C-101B-9397-08002B2CF9AE}" pid="7" name="Objective-IsApproved">
    <vt:bool>false</vt:bool>
  </property>
  <property fmtid="{D5CDD505-2E9C-101B-9397-08002B2CF9AE}" pid="8" name="Objective-IsPublished">
    <vt:bool>false</vt:bool>
  </property>
  <property fmtid="{D5CDD505-2E9C-101B-9397-08002B2CF9AE}" pid="9" name="Objective-DatePublished">
    <vt:lpwstr/>
  </property>
  <property fmtid="{D5CDD505-2E9C-101B-9397-08002B2CF9AE}" pid="10" name="Objective-ModificationStamp">
    <vt:filetime>2023-06-02T11:14:55Z</vt:filetime>
  </property>
  <property fmtid="{D5CDD505-2E9C-101B-9397-08002B2CF9AE}" pid="11" name="Objective-Owner">
    <vt:lpwstr>O'Neill, Michelagh M (U446277)</vt:lpwstr>
  </property>
  <property fmtid="{D5CDD505-2E9C-101B-9397-08002B2CF9AE}" pid="12" name="Objective-Path">
    <vt:lpwstr>Objective Global Folder:SG File Plan:Agriculture, environment and natural resources:Land:Flooding:Advice and policy: Flooding:Flood Resilience Strategy: 2023-2028</vt:lpwstr>
  </property>
  <property fmtid="{D5CDD505-2E9C-101B-9397-08002B2CF9AE}" pid="13" name="Objective-Parent">
    <vt:lpwstr>Flood Resilience Strategy: 2023-2028</vt:lpwstr>
  </property>
  <property fmtid="{D5CDD505-2E9C-101B-9397-08002B2CF9AE}" pid="14" name="Objective-State">
    <vt:lpwstr>Being Drafted</vt:lpwstr>
  </property>
  <property fmtid="{D5CDD505-2E9C-101B-9397-08002B2CF9AE}" pid="15" name="Objective-VersionId">
    <vt:lpwstr>vA65651541</vt:lpwstr>
  </property>
  <property fmtid="{D5CDD505-2E9C-101B-9397-08002B2CF9AE}" pid="16" name="Objective-Version">
    <vt:lpwstr>0.4</vt:lpwstr>
  </property>
  <property fmtid="{D5CDD505-2E9C-101B-9397-08002B2CF9AE}" pid="17" name="Objective-VersionNumber">
    <vt:r8>4</vt:r8>
  </property>
  <property fmtid="{D5CDD505-2E9C-101B-9397-08002B2CF9AE}" pid="18" name="Objective-VersionComment">
    <vt:lpwstr>scoping slide slim-down</vt:lpwstr>
  </property>
  <property fmtid="{D5CDD505-2E9C-101B-9397-08002B2CF9AE}" pid="19" name="Objective-FileNumber">
    <vt:lpwstr>POL/40104</vt:lpwstr>
  </property>
  <property fmtid="{D5CDD505-2E9C-101B-9397-08002B2CF9AE}" pid="20" name="Objective-Classification">
    <vt:lpwstr>OFFICIAL</vt:lpwstr>
  </property>
  <property fmtid="{D5CDD505-2E9C-101B-9397-08002B2CF9AE}" pid="21" name="Objective-Caveats">
    <vt:lpwstr>Caveat for access to SG Fileplan</vt:lpwstr>
  </property>
  <property fmtid="{D5CDD505-2E9C-101B-9397-08002B2CF9AE}" pid="22" name="Objective-Date of Original">
    <vt:lpwstr/>
  </property>
  <property fmtid="{D5CDD505-2E9C-101B-9397-08002B2CF9AE}" pid="23" name="Objective-Date Received">
    <vt:lpwstr/>
  </property>
  <property fmtid="{D5CDD505-2E9C-101B-9397-08002B2CF9AE}" pid="24" name="Objective-SG Web Publication - Category">
    <vt:lpwstr/>
  </property>
  <property fmtid="{D5CDD505-2E9C-101B-9397-08002B2CF9AE}" pid="25" name="Objective-SG Web Publication - Category 2 Classification">
    <vt:lpwstr/>
  </property>
  <property fmtid="{D5CDD505-2E9C-101B-9397-08002B2CF9AE}" pid="26" name="Objective-Connect Creator">
    <vt:lpwstr/>
  </property>
  <property fmtid="{D5CDD505-2E9C-101B-9397-08002B2CF9AE}" pid="27" name="Objective-Required Redaction">
    <vt:lpwstr/>
  </property>
  <property fmtid="{D5CDD505-2E9C-101B-9397-08002B2CF9AE}" pid="28" name="ContentTypeId">
    <vt:lpwstr>0x010100271EBC16F1BC7F41B8EA90A5960E74B1</vt:lpwstr>
  </property>
</Properties>
</file>